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9" r:id="rId1"/>
    <p:sldMasterId id="2147483672" r:id="rId2"/>
  </p:sldMasterIdLst>
  <p:notesMasterIdLst>
    <p:notesMasterId r:id="rId29"/>
  </p:notesMasterIdLst>
  <p:handoutMasterIdLst>
    <p:handoutMasterId r:id="rId30"/>
  </p:handoutMasterIdLst>
  <p:sldIdLst>
    <p:sldId id="274" r:id="rId3"/>
    <p:sldId id="330" r:id="rId4"/>
    <p:sldId id="341" r:id="rId5"/>
    <p:sldId id="340" r:id="rId6"/>
    <p:sldId id="328" r:id="rId7"/>
    <p:sldId id="342" r:id="rId8"/>
    <p:sldId id="343" r:id="rId9"/>
    <p:sldId id="339" r:id="rId10"/>
    <p:sldId id="333" r:id="rId11"/>
    <p:sldId id="334" r:id="rId12"/>
    <p:sldId id="344" r:id="rId13"/>
    <p:sldId id="335" r:id="rId14"/>
    <p:sldId id="336" r:id="rId15"/>
    <p:sldId id="337" r:id="rId16"/>
    <p:sldId id="338" r:id="rId17"/>
    <p:sldId id="345" r:id="rId18"/>
    <p:sldId id="329" r:id="rId19"/>
    <p:sldId id="331" r:id="rId20"/>
    <p:sldId id="347" r:id="rId21"/>
    <p:sldId id="351" r:id="rId22"/>
    <p:sldId id="346" r:id="rId23"/>
    <p:sldId id="352" r:id="rId24"/>
    <p:sldId id="349" r:id="rId25"/>
    <p:sldId id="348" r:id="rId26"/>
    <p:sldId id="350" r:id="rId27"/>
    <p:sldId id="332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9D2E12-BAFC-421B-A76B-69CB76138BFE}" v="37" dt="2023-10-06T10:37:39.984"/>
  </p1510:revLst>
</p1510:revInfo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80" autoAdjust="0"/>
    <p:restoredTop sz="73277" autoAdjust="0"/>
  </p:normalViewPr>
  <p:slideViewPr>
    <p:cSldViewPr snapToGrid="0" showGuides="1">
      <p:cViewPr varScale="1">
        <p:scale>
          <a:sx n="66" d="100"/>
          <a:sy n="66" d="100"/>
        </p:scale>
        <p:origin x="1666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7" d="100"/>
          <a:sy n="67" d="100"/>
        </p:scale>
        <p:origin x="3043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naud Kerzmann" userId="905c2296cb856666" providerId="LiveId" clId="{879D2E12-BAFC-421B-A76B-69CB76138BFE}"/>
    <pc:docChg chg="undo custSel addSld delSld modSld sldOrd">
      <pc:chgData name="Arnaud Kerzmann" userId="905c2296cb856666" providerId="LiveId" clId="{879D2E12-BAFC-421B-A76B-69CB76138BFE}" dt="2023-10-06T14:02:32.618" v="8228" actId="20577"/>
      <pc:docMkLst>
        <pc:docMk/>
      </pc:docMkLst>
      <pc:sldChg chg="addSp delSp modSp mod">
        <pc:chgData name="Arnaud Kerzmann" userId="905c2296cb856666" providerId="LiveId" clId="{879D2E12-BAFC-421B-A76B-69CB76138BFE}" dt="2023-10-05T08:53:04.850" v="2410" actId="1076"/>
        <pc:sldMkLst>
          <pc:docMk/>
          <pc:sldMk cId="2438693533" sldId="274"/>
        </pc:sldMkLst>
        <pc:spChg chg="del mod">
          <ac:chgData name="Arnaud Kerzmann" userId="905c2296cb856666" providerId="LiveId" clId="{879D2E12-BAFC-421B-A76B-69CB76138BFE}" dt="2023-10-04T20:57:34.099" v="308" actId="478"/>
          <ac:spMkLst>
            <pc:docMk/>
            <pc:sldMk cId="2438693533" sldId="274"/>
            <ac:spMk id="4" creationId="{901CFF3A-9DBB-4410-81D0-9C56E5397E6B}"/>
          </ac:spMkLst>
        </pc:spChg>
        <pc:spChg chg="del mod">
          <ac:chgData name="Arnaud Kerzmann" userId="905c2296cb856666" providerId="LiveId" clId="{879D2E12-BAFC-421B-A76B-69CB76138BFE}" dt="2023-10-04T20:58:30.634" v="333" actId="478"/>
          <ac:spMkLst>
            <pc:docMk/>
            <pc:sldMk cId="2438693533" sldId="274"/>
            <ac:spMk id="28" creationId="{8B1F838F-317E-4492-8848-EDA278380CED}"/>
          </ac:spMkLst>
        </pc:spChg>
        <pc:spChg chg="mod">
          <ac:chgData name="Arnaud Kerzmann" userId="905c2296cb856666" providerId="LiveId" clId="{879D2E12-BAFC-421B-A76B-69CB76138BFE}" dt="2023-10-05T08:52:42.284" v="2408" actId="14100"/>
          <ac:spMkLst>
            <pc:docMk/>
            <pc:sldMk cId="2438693533" sldId="274"/>
            <ac:spMk id="29" creationId="{1B8A596F-CD51-4D2A-8706-57E3A2787146}"/>
          </ac:spMkLst>
        </pc:spChg>
        <pc:picChg chg="add mod">
          <ac:chgData name="Arnaud Kerzmann" userId="905c2296cb856666" providerId="LiveId" clId="{879D2E12-BAFC-421B-A76B-69CB76138BFE}" dt="2023-10-05T08:53:00.646" v="2409" actId="1076"/>
          <ac:picMkLst>
            <pc:docMk/>
            <pc:sldMk cId="2438693533" sldId="274"/>
            <ac:picMk id="2" creationId="{B3A8DFB0-5948-C884-55D8-0382072CD24F}"/>
          </ac:picMkLst>
        </pc:picChg>
        <pc:picChg chg="add mod">
          <ac:chgData name="Arnaud Kerzmann" userId="905c2296cb856666" providerId="LiveId" clId="{879D2E12-BAFC-421B-A76B-69CB76138BFE}" dt="2023-10-05T08:53:04.850" v="2410" actId="1076"/>
          <ac:picMkLst>
            <pc:docMk/>
            <pc:sldMk cId="2438693533" sldId="274"/>
            <ac:picMk id="3" creationId="{7FD3E1BC-4EBF-F995-6DC0-B213D4F3B1CB}"/>
          </ac:picMkLst>
        </pc:picChg>
      </pc:sldChg>
      <pc:sldChg chg="addSp del">
        <pc:chgData name="Arnaud Kerzmann" userId="905c2296cb856666" providerId="LiveId" clId="{879D2E12-BAFC-421B-A76B-69CB76138BFE}" dt="2023-10-06T07:40:03.267" v="7499" actId="2696"/>
        <pc:sldMkLst>
          <pc:docMk/>
          <pc:sldMk cId="1170285036" sldId="280"/>
        </pc:sldMkLst>
        <pc:picChg chg="add">
          <ac:chgData name="Arnaud Kerzmann" userId="905c2296cb856666" providerId="LiveId" clId="{879D2E12-BAFC-421B-A76B-69CB76138BFE}" dt="2023-10-05T09:48:43.152" v="5308"/>
          <ac:picMkLst>
            <pc:docMk/>
            <pc:sldMk cId="1170285036" sldId="280"/>
            <ac:picMk id="3" creationId="{E834EDAD-F41C-DA1C-99C9-F879D6B84C00}"/>
          </ac:picMkLst>
        </pc:picChg>
      </pc:sldChg>
      <pc:sldChg chg="del">
        <pc:chgData name="Arnaud Kerzmann" userId="905c2296cb856666" providerId="LiveId" clId="{879D2E12-BAFC-421B-A76B-69CB76138BFE}" dt="2023-10-04T20:59:16.183" v="338" actId="2696"/>
        <pc:sldMkLst>
          <pc:docMk/>
          <pc:sldMk cId="1868966278" sldId="327"/>
        </pc:sldMkLst>
      </pc:sldChg>
      <pc:sldChg chg="addSp delSp modSp add mod modClrScheme modAnim chgLayout">
        <pc:chgData name="Arnaud Kerzmann" userId="905c2296cb856666" providerId="LiveId" clId="{879D2E12-BAFC-421B-A76B-69CB76138BFE}" dt="2023-10-05T09:10:19.178" v="2923" actId="1076"/>
        <pc:sldMkLst>
          <pc:docMk/>
          <pc:sldMk cId="1537252209" sldId="328"/>
        </pc:sldMkLst>
        <pc:spChg chg="add del mod ord">
          <ac:chgData name="Arnaud Kerzmann" userId="905c2296cb856666" providerId="LiveId" clId="{879D2E12-BAFC-421B-A76B-69CB76138BFE}" dt="2023-10-04T19:37:11.531" v="3" actId="700"/>
          <ac:spMkLst>
            <pc:docMk/>
            <pc:sldMk cId="1537252209" sldId="328"/>
            <ac:spMk id="2" creationId="{12E26107-AFF5-7460-ECE0-A5A4C9CD7EAE}"/>
          </ac:spMkLst>
        </pc:spChg>
        <pc:spChg chg="add del mod ord">
          <ac:chgData name="Arnaud Kerzmann" userId="905c2296cb856666" providerId="LiveId" clId="{879D2E12-BAFC-421B-A76B-69CB76138BFE}" dt="2023-10-05T09:07:00.239" v="2893" actId="700"/>
          <ac:spMkLst>
            <pc:docMk/>
            <pc:sldMk cId="1537252209" sldId="328"/>
            <ac:spMk id="2" creationId="{CCAE4D4A-F838-6457-16D1-6C8EED2735A0}"/>
          </ac:spMkLst>
        </pc:spChg>
        <pc:spChg chg="add del mod ord">
          <ac:chgData name="Arnaud Kerzmann" userId="905c2296cb856666" providerId="LiveId" clId="{879D2E12-BAFC-421B-A76B-69CB76138BFE}" dt="2023-10-05T09:07:00.239" v="2893" actId="700"/>
          <ac:spMkLst>
            <pc:docMk/>
            <pc:sldMk cId="1537252209" sldId="328"/>
            <ac:spMk id="3" creationId="{0135EC1E-1418-00DB-FA62-CE5C2348CFD5}"/>
          </ac:spMkLst>
        </pc:spChg>
        <pc:spChg chg="add del mod ord">
          <ac:chgData name="Arnaud Kerzmann" userId="905c2296cb856666" providerId="LiveId" clId="{879D2E12-BAFC-421B-A76B-69CB76138BFE}" dt="2023-10-04T19:37:31.095" v="4" actId="700"/>
          <ac:spMkLst>
            <pc:docMk/>
            <pc:sldMk cId="1537252209" sldId="328"/>
            <ac:spMk id="3" creationId="{043D038F-355C-5CAF-1BB3-908D487247AA}"/>
          </ac:spMkLst>
        </pc:spChg>
        <pc:spChg chg="add del mod ord">
          <ac:chgData name="Arnaud Kerzmann" userId="905c2296cb856666" providerId="LiveId" clId="{879D2E12-BAFC-421B-A76B-69CB76138BFE}" dt="2023-10-05T09:07:00.239" v="2893" actId="700"/>
          <ac:spMkLst>
            <pc:docMk/>
            <pc:sldMk cId="1537252209" sldId="328"/>
            <ac:spMk id="4" creationId="{8F6DE58D-91FC-0573-32E9-87ECFD967F5B}"/>
          </ac:spMkLst>
        </pc:spChg>
        <pc:spChg chg="del mod ord">
          <ac:chgData name="Arnaud Kerzmann" userId="905c2296cb856666" providerId="LiveId" clId="{879D2E12-BAFC-421B-A76B-69CB76138BFE}" dt="2023-10-04T19:37:58.348" v="7" actId="478"/>
          <ac:spMkLst>
            <pc:docMk/>
            <pc:sldMk cId="1537252209" sldId="328"/>
            <ac:spMk id="4" creationId="{901CFF3A-9DBB-4410-81D0-9C56E5397E6B}"/>
          </ac:spMkLst>
        </pc:spChg>
        <pc:spChg chg="add del mod ord">
          <ac:chgData name="Arnaud Kerzmann" userId="905c2296cb856666" providerId="LiveId" clId="{879D2E12-BAFC-421B-A76B-69CB76138BFE}" dt="2023-10-04T19:37:48.523" v="5" actId="700"/>
          <ac:spMkLst>
            <pc:docMk/>
            <pc:sldMk cId="1537252209" sldId="328"/>
            <ac:spMk id="5" creationId="{2F2134A7-67F9-376F-2FC2-1F1D41EB72CB}"/>
          </ac:spMkLst>
        </pc:spChg>
        <pc:spChg chg="add del mod ord">
          <ac:chgData name="Arnaud Kerzmann" userId="905c2296cb856666" providerId="LiveId" clId="{879D2E12-BAFC-421B-A76B-69CB76138BFE}" dt="2023-10-04T19:37:48.523" v="5" actId="700"/>
          <ac:spMkLst>
            <pc:docMk/>
            <pc:sldMk cId="1537252209" sldId="328"/>
            <ac:spMk id="6" creationId="{1ACB3955-35A8-F04E-65CF-ED0C62B7023A}"/>
          </ac:spMkLst>
        </pc:spChg>
        <pc:spChg chg="add del mod ord">
          <ac:chgData name="Arnaud Kerzmann" userId="905c2296cb856666" providerId="LiveId" clId="{879D2E12-BAFC-421B-A76B-69CB76138BFE}" dt="2023-10-04T20:08:30.526" v="12"/>
          <ac:spMkLst>
            <pc:docMk/>
            <pc:sldMk cId="1537252209" sldId="328"/>
            <ac:spMk id="7" creationId="{CA76CB8C-EF92-FBCA-AAFD-E6A933130C91}"/>
          </ac:spMkLst>
        </pc:spChg>
        <pc:spChg chg="add del mod">
          <ac:chgData name="Arnaud Kerzmann" userId="905c2296cb856666" providerId="LiveId" clId="{879D2E12-BAFC-421B-A76B-69CB76138BFE}" dt="2023-10-04T21:07:54.337" v="673" actId="700"/>
          <ac:spMkLst>
            <pc:docMk/>
            <pc:sldMk cId="1537252209" sldId="328"/>
            <ac:spMk id="9" creationId="{9780A6AC-FDA8-0A75-C98E-B003BCEBDE59}"/>
          </ac:spMkLst>
        </pc:spChg>
        <pc:spChg chg="add del mod ord">
          <ac:chgData name="Arnaud Kerzmann" userId="905c2296cb856666" providerId="LiveId" clId="{879D2E12-BAFC-421B-A76B-69CB76138BFE}" dt="2023-10-04T21:07:54.337" v="673" actId="700"/>
          <ac:spMkLst>
            <pc:docMk/>
            <pc:sldMk cId="1537252209" sldId="328"/>
            <ac:spMk id="11" creationId="{B029D671-F023-E808-60AD-413ABAF07A0C}"/>
          </ac:spMkLst>
        </pc:spChg>
        <pc:spChg chg="add del mod">
          <ac:chgData name="Arnaud Kerzmann" userId="905c2296cb856666" providerId="LiveId" clId="{879D2E12-BAFC-421B-A76B-69CB76138BFE}" dt="2023-10-04T21:07:28.244" v="672" actId="478"/>
          <ac:spMkLst>
            <pc:docMk/>
            <pc:sldMk cId="1537252209" sldId="328"/>
            <ac:spMk id="14" creationId="{6F172A73-891A-881E-E12B-8E1320D91AC4}"/>
          </ac:spMkLst>
        </pc:spChg>
        <pc:spChg chg="add del mod ord">
          <ac:chgData name="Arnaud Kerzmann" userId="905c2296cb856666" providerId="LiveId" clId="{879D2E12-BAFC-421B-A76B-69CB76138BFE}" dt="2023-10-04T21:08:05.075" v="675" actId="478"/>
          <ac:spMkLst>
            <pc:docMk/>
            <pc:sldMk cId="1537252209" sldId="328"/>
            <ac:spMk id="15" creationId="{BE4DCDE5-E8AF-CB38-C461-8D22CE1EC13E}"/>
          </ac:spMkLst>
        </pc:spChg>
        <pc:spChg chg="add del mod ord">
          <ac:chgData name="Arnaud Kerzmann" userId="905c2296cb856666" providerId="LiveId" clId="{879D2E12-BAFC-421B-A76B-69CB76138BFE}" dt="2023-10-05T09:09:58.588" v="2922" actId="20577"/>
          <ac:spMkLst>
            <pc:docMk/>
            <pc:sldMk cId="1537252209" sldId="328"/>
            <ac:spMk id="16" creationId="{18195119-0AD2-1096-4C11-1DDDCEA443B2}"/>
          </ac:spMkLst>
        </pc:spChg>
        <pc:spChg chg="add del mod ord">
          <ac:chgData name="Arnaud Kerzmann" userId="905c2296cb856666" providerId="LiveId" clId="{879D2E12-BAFC-421B-A76B-69CB76138BFE}" dt="2023-10-04T21:32:14.466" v="1424" actId="700"/>
          <ac:spMkLst>
            <pc:docMk/>
            <pc:sldMk cId="1537252209" sldId="328"/>
            <ac:spMk id="17" creationId="{363CD17F-64E5-E8F1-BB32-7F84E4D5F6C5}"/>
          </ac:spMkLst>
        </pc:spChg>
        <pc:spChg chg="add del mod ord">
          <ac:chgData name="Arnaud Kerzmann" userId="905c2296cb856666" providerId="LiveId" clId="{879D2E12-BAFC-421B-A76B-69CB76138BFE}" dt="2023-10-04T21:32:14.466" v="1424" actId="700"/>
          <ac:spMkLst>
            <pc:docMk/>
            <pc:sldMk cId="1537252209" sldId="328"/>
            <ac:spMk id="18" creationId="{348D26EA-9AC0-B0D3-DC32-A022C349D69C}"/>
          </ac:spMkLst>
        </pc:spChg>
        <pc:spChg chg="add del mod ord">
          <ac:chgData name="Arnaud Kerzmann" userId="905c2296cb856666" providerId="LiveId" clId="{879D2E12-BAFC-421B-A76B-69CB76138BFE}" dt="2023-10-04T21:32:14.466" v="1424" actId="700"/>
          <ac:spMkLst>
            <pc:docMk/>
            <pc:sldMk cId="1537252209" sldId="328"/>
            <ac:spMk id="19" creationId="{D5EFE571-D980-5D07-CF45-7429FA623095}"/>
          </ac:spMkLst>
        </pc:spChg>
        <pc:spChg chg="add del mod ord">
          <ac:chgData name="Arnaud Kerzmann" userId="905c2296cb856666" providerId="LiveId" clId="{879D2E12-BAFC-421B-A76B-69CB76138BFE}" dt="2023-10-04T21:31:59.194" v="1422" actId="700"/>
          <ac:spMkLst>
            <pc:docMk/>
            <pc:sldMk cId="1537252209" sldId="328"/>
            <ac:spMk id="20" creationId="{AF40D238-39AB-8503-A705-96956EA221BF}"/>
          </ac:spMkLst>
        </pc:spChg>
        <pc:spChg chg="del mod ord">
          <ac:chgData name="Arnaud Kerzmann" userId="905c2296cb856666" providerId="LiveId" clId="{879D2E12-BAFC-421B-A76B-69CB76138BFE}" dt="2023-10-04T19:37:55.148" v="6" actId="478"/>
          <ac:spMkLst>
            <pc:docMk/>
            <pc:sldMk cId="1537252209" sldId="328"/>
            <ac:spMk id="28" creationId="{8B1F838F-317E-4492-8848-EDA278380CED}"/>
          </ac:spMkLst>
        </pc:spChg>
        <pc:spChg chg="del mod ord">
          <ac:chgData name="Arnaud Kerzmann" userId="905c2296cb856666" providerId="LiveId" clId="{879D2E12-BAFC-421B-A76B-69CB76138BFE}" dt="2023-10-04T21:07:18.565" v="671" actId="478"/>
          <ac:spMkLst>
            <pc:docMk/>
            <pc:sldMk cId="1537252209" sldId="328"/>
            <ac:spMk id="29" creationId="{1B8A596F-CD51-4D2A-8706-57E3A2787146}"/>
          </ac:spMkLst>
        </pc:spChg>
        <pc:picChg chg="add mod ord modCrop">
          <ac:chgData name="Arnaud Kerzmann" userId="905c2296cb856666" providerId="LiveId" clId="{879D2E12-BAFC-421B-A76B-69CB76138BFE}" dt="2023-10-05T09:10:19.178" v="2923" actId="1076"/>
          <ac:picMkLst>
            <pc:docMk/>
            <pc:sldMk cId="1537252209" sldId="328"/>
            <ac:picMk id="12" creationId="{B3148C37-1012-95B9-3562-C8606CBBDCF3}"/>
          </ac:picMkLst>
        </pc:picChg>
      </pc:sldChg>
      <pc:sldChg chg="addSp delSp modSp add mod delAnim modAnim">
        <pc:chgData name="Arnaud Kerzmann" userId="905c2296cb856666" providerId="LiveId" clId="{879D2E12-BAFC-421B-A76B-69CB76138BFE}" dt="2023-10-06T07:05:51.114" v="6362" actId="20577"/>
        <pc:sldMkLst>
          <pc:docMk/>
          <pc:sldMk cId="2296342940" sldId="329"/>
        </pc:sldMkLst>
        <pc:spChg chg="add del mod">
          <ac:chgData name="Arnaud Kerzmann" userId="905c2296cb856666" providerId="LiveId" clId="{879D2E12-BAFC-421B-A76B-69CB76138BFE}" dt="2023-10-04T20:18:03.645" v="22"/>
          <ac:spMkLst>
            <pc:docMk/>
            <pc:sldMk cId="2296342940" sldId="329"/>
            <ac:spMk id="4" creationId="{81CA8B9A-EE79-B79B-58FF-89C09F6A6585}"/>
          </ac:spMkLst>
        </pc:spChg>
        <pc:spChg chg="del">
          <ac:chgData name="Arnaud Kerzmann" userId="905c2296cb856666" providerId="LiveId" clId="{879D2E12-BAFC-421B-A76B-69CB76138BFE}" dt="2023-10-04T20:15:39.718" v="18"/>
          <ac:spMkLst>
            <pc:docMk/>
            <pc:sldMk cId="2296342940" sldId="329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6T07:05:34.892" v="6216" actId="255"/>
          <ac:spMkLst>
            <pc:docMk/>
            <pc:sldMk cId="2296342940" sldId="329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6T07:05:39.533" v="6217" actId="478"/>
          <ac:spMkLst>
            <pc:docMk/>
            <pc:sldMk cId="2296342940" sldId="329"/>
            <ac:spMk id="11" creationId="{B029D671-F023-E808-60AD-413ABAF07A0C}"/>
          </ac:spMkLst>
        </pc:spChg>
        <pc:spChg chg="mod">
          <ac:chgData name="Arnaud Kerzmann" userId="905c2296cb856666" providerId="LiveId" clId="{879D2E12-BAFC-421B-A76B-69CB76138BFE}" dt="2023-10-06T07:05:51.114" v="6362" actId="20577"/>
          <ac:spMkLst>
            <pc:docMk/>
            <pc:sldMk cId="2296342940" sldId="329"/>
            <ac:spMk id="29" creationId="{1B8A596F-CD51-4D2A-8706-57E3A2787146}"/>
          </ac:spMkLst>
        </pc:spChg>
        <pc:picChg chg="add del mod modCrop">
          <ac:chgData name="Arnaud Kerzmann" userId="905c2296cb856666" providerId="LiveId" clId="{879D2E12-BAFC-421B-A76B-69CB76138BFE}" dt="2023-10-04T20:16:38.768" v="21" actId="21"/>
          <ac:picMkLst>
            <pc:docMk/>
            <pc:sldMk cId="2296342940" sldId="329"/>
            <ac:picMk id="2" creationId="{F70139F9-3DE9-74B6-612B-4A3D46B0CF7B}"/>
          </ac:picMkLst>
        </pc:picChg>
        <pc:picChg chg="add mod modCrop">
          <ac:chgData name="Arnaud Kerzmann" userId="905c2296cb856666" providerId="LiveId" clId="{879D2E12-BAFC-421B-A76B-69CB76138BFE}" dt="2023-10-04T20:18:22.336" v="27" actId="1076"/>
          <ac:picMkLst>
            <pc:docMk/>
            <pc:sldMk cId="2296342940" sldId="329"/>
            <ac:picMk id="5" creationId="{BCAE1331-6FD4-36A4-74D5-661283ECECFF}"/>
          </ac:picMkLst>
        </pc:picChg>
      </pc:sldChg>
      <pc:sldChg chg="addSp delSp modSp add mod ord">
        <pc:chgData name="Arnaud Kerzmann" userId="905c2296cb856666" providerId="LiveId" clId="{879D2E12-BAFC-421B-A76B-69CB76138BFE}" dt="2023-10-05T08:53:59.642" v="2427" actId="20577"/>
        <pc:sldMkLst>
          <pc:docMk/>
          <pc:sldMk cId="2316815411" sldId="330"/>
        </pc:sldMkLst>
        <pc:spChg chg="add mod">
          <ac:chgData name="Arnaud Kerzmann" userId="905c2296cb856666" providerId="LiveId" clId="{879D2E12-BAFC-421B-A76B-69CB76138BFE}" dt="2023-10-04T21:06:55.505" v="526" actId="478"/>
          <ac:spMkLst>
            <pc:docMk/>
            <pc:sldMk cId="2316815411" sldId="330"/>
            <ac:spMk id="3" creationId="{E4FA9343-6256-A607-11A7-9824A9287B30}"/>
          </ac:spMkLst>
        </pc:spChg>
        <pc:spChg chg="mod">
          <ac:chgData name="Arnaud Kerzmann" userId="905c2296cb856666" providerId="LiveId" clId="{879D2E12-BAFC-421B-A76B-69CB76138BFE}" dt="2023-10-05T08:53:59.642" v="2427" actId="20577"/>
          <ac:spMkLst>
            <pc:docMk/>
            <pc:sldMk cId="2316815411" sldId="330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4T21:06:12.156" v="380" actId="14100"/>
          <ac:spMkLst>
            <pc:docMk/>
            <pc:sldMk cId="2316815411" sldId="330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4T21:06:36.595" v="381" actId="478"/>
          <ac:spMkLst>
            <pc:docMk/>
            <pc:sldMk cId="2316815411" sldId="330"/>
            <ac:spMk id="11" creationId="{B029D671-F023-E808-60AD-413ABAF07A0C}"/>
          </ac:spMkLst>
        </pc:spChg>
        <pc:spChg chg="del mod">
          <ac:chgData name="Arnaud Kerzmann" userId="905c2296cb856666" providerId="LiveId" clId="{879D2E12-BAFC-421B-A76B-69CB76138BFE}" dt="2023-10-04T21:06:55.505" v="526" actId="478"/>
          <ac:spMkLst>
            <pc:docMk/>
            <pc:sldMk cId="2316815411" sldId="330"/>
            <ac:spMk id="29" creationId="{1B8A596F-CD51-4D2A-8706-57E3A2787146}"/>
          </ac:spMkLst>
        </pc:spChg>
      </pc:sldChg>
      <pc:sldChg chg="addSp delSp modSp add mod">
        <pc:chgData name="Arnaud Kerzmann" userId="905c2296cb856666" providerId="LiveId" clId="{879D2E12-BAFC-421B-A76B-69CB76138BFE}" dt="2023-10-06T07:21:22.961" v="7091" actId="1076"/>
        <pc:sldMkLst>
          <pc:docMk/>
          <pc:sldMk cId="2699159023" sldId="331"/>
        </pc:sldMkLst>
        <pc:spChg chg="del mod">
          <ac:chgData name="Arnaud Kerzmann" userId="905c2296cb856666" providerId="LiveId" clId="{879D2E12-BAFC-421B-A76B-69CB76138BFE}" dt="2023-10-06T07:20:48.299" v="7082" actId="22"/>
          <ac:spMkLst>
            <pc:docMk/>
            <pc:sldMk cId="2699159023" sldId="331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4T22:37:30.001" v="2229" actId="255"/>
          <ac:spMkLst>
            <pc:docMk/>
            <pc:sldMk cId="2699159023" sldId="331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4T22:37:35.031" v="2230" actId="478"/>
          <ac:spMkLst>
            <pc:docMk/>
            <pc:sldMk cId="2699159023" sldId="331"/>
            <ac:spMk id="11" creationId="{B029D671-F023-E808-60AD-413ABAF07A0C}"/>
          </ac:spMkLst>
        </pc:spChg>
        <pc:spChg chg="del mod">
          <ac:chgData name="Arnaud Kerzmann" userId="905c2296cb856666" providerId="LiveId" clId="{879D2E12-BAFC-421B-A76B-69CB76138BFE}" dt="2023-10-04T22:37:47.330" v="2376" actId="478"/>
          <ac:spMkLst>
            <pc:docMk/>
            <pc:sldMk cId="2699159023" sldId="331"/>
            <ac:spMk id="29" creationId="{1B8A596F-CD51-4D2A-8706-57E3A2787146}"/>
          </ac:spMkLst>
        </pc:spChg>
        <pc:picChg chg="add mod ord modCrop">
          <ac:chgData name="Arnaud Kerzmann" userId="905c2296cb856666" providerId="LiveId" clId="{879D2E12-BAFC-421B-A76B-69CB76138BFE}" dt="2023-10-06T07:21:22.961" v="7091" actId="1076"/>
          <ac:picMkLst>
            <pc:docMk/>
            <pc:sldMk cId="2699159023" sldId="331"/>
            <ac:picMk id="3" creationId="{46E5D38F-86A3-E673-467D-157E98772DC3}"/>
          </ac:picMkLst>
        </pc:picChg>
      </pc:sldChg>
      <pc:sldChg chg="delSp modSp add mod">
        <pc:chgData name="Arnaud Kerzmann" userId="905c2296cb856666" providerId="LiveId" clId="{879D2E12-BAFC-421B-A76B-69CB76138BFE}" dt="2023-10-06T14:02:32.618" v="8228" actId="20577"/>
        <pc:sldMkLst>
          <pc:docMk/>
          <pc:sldMk cId="1404526115" sldId="332"/>
        </pc:sldMkLst>
        <pc:spChg chg="mod">
          <ac:chgData name="Arnaud Kerzmann" userId="905c2296cb856666" providerId="LiveId" clId="{879D2E12-BAFC-421B-A76B-69CB76138BFE}" dt="2023-10-06T14:02:32.618" v="8228" actId="20577"/>
          <ac:spMkLst>
            <pc:docMk/>
            <pc:sldMk cId="1404526115" sldId="332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6T07:15:32.304" v="6846" actId="255"/>
          <ac:spMkLst>
            <pc:docMk/>
            <pc:sldMk cId="1404526115" sldId="332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6T07:15:38.811" v="6847" actId="478"/>
          <ac:spMkLst>
            <pc:docMk/>
            <pc:sldMk cId="1404526115" sldId="332"/>
            <ac:spMk id="11" creationId="{B029D671-F023-E808-60AD-413ABAF07A0C}"/>
          </ac:spMkLst>
        </pc:spChg>
        <pc:spChg chg="mod">
          <ac:chgData name="Arnaud Kerzmann" userId="905c2296cb856666" providerId="LiveId" clId="{879D2E12-BAFC-421B-A76B-69CB76138BFE}" dt="2023-10-06T07:15:47.102" v="6992" actId="20577"/>
          <ac:spMkLst>
            <pc:docMk/>
            <pc:sldMk cId="1404526115" sldId="332"/>
            <ac:spMk id="29" creationId="{1B8A596F-CD51-4D2A-8706-57E3A2787146}"/>
          </ac:spMkLst>
        </pc:spChg>
      </pc:sldChg>
      <pc:sldChg chg="addSp delSp modSp add mod modAnim">
        <pc:chgData name="Arnaud Kerzmann" userId="905c2296cb856666" providerId="LiveId" clId="{879D2E12-BAFC-421B-A76B-69CB76138BFE}" dt="2023-10-06T07:03:45.125" v="6198" actId="20577"/>
        <pc:sldMkLst>
          <pc:docMk/>
          <pc:sldMk cId="125299355" sldId="333"/>
        </pc:sldMkLst>
        <pc:spChg chg="del">
          <ac:chgData name="Arnaud Kerzmann" userId="905c2296cb856666" providerId="LiveId" clId="{879D2E12-BAFC-421B-A76B-69CB76138BFE}" dt="2023-10-04T20:25:34.314" v="33"/>
          <ac:spMkLst>
            <pc:docMk/>
            <pc:sldMk cId="125299355" sldId="333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6T07:03:45.125" v="6198" actId="20577"/>
          <ac:spMkLst>
            <pc:docMk/>
            <pc:sldMk cId="125299355" sldId="333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5T09:11:28.279" v="3085" actId="478"/>
          <ac:spMkLst>
            <pc:docMk/>
            <pc:sldMk cId="125299355" sldId="333"/>
            <ac:spMk id="11" creationId="{B029D671-F023-E808-60AD-413ABAF07A0C}"/>
          </ac:spMkLst>
        </pc:spChg>
        <pc:spChg chg="mod">
          <ac:chgData name="Arnaud Kerzmann" userId="905c2296cb856666" providerId="LiveId" clId="{879D2E12-BAFC-421B-A76B-69CB76138BFE}" dt="2023-10-05T09:10:48.195" v="3068" actId="20577"/>
          <ac:spMkLst>
            <pc:docMk/>
            <pc:sldMk cId="125299355" sldId="333"/>
            <ac:spMk id="29" creationId="{1B8A596F-CD51-4D2A-8706-57E3A2787146}"/>
          </ac:spMkLst>
        </pc:spChg>
        <pc:picChg chg="add mod modCrop">
          <ac:chgData name="Arnaud Kerzmann" userId="905c2296cb856666" providerId="LiveId" clId="{879D2E12-BAFC-421B-A76B-69CB76138BFE}" dt="2023-10-05T09:11:14.758" v="3083" actId="1076"/>
          <ac:picMkLst>
            <pc:docMk/>
            <pc:sldMk cId="125299355" sldId="333"/>
            <ac:picMk id="2" creationId="{16059BF8-CF74-C2E5-E633-35D22E557797}"/>
          </ac:picMkLst>
        </pc:picChg>
      </pc:sldChg>
      <pc:sldChg chg="delSp modSp add mod">
        <pc:chgData name="Arnaud Kerzmann" userId="905c2296cb856666" providerId="LiveId" clId="{879D2E12-BAFC-421B-A76B-69CB76138BFE}" dt="2023-10-05T09:26:22.096" v="3744" actId="20577"/>
        <pc:sldMkLst>
          <pc:docMk/>
          <pc:sldMk cId="256038875" sldId="334"/>
        </pc:sldMkLst>
        <pc:spChg chg="mod">
          <ac:chgData name="Arnaud Kerzmann" userId="905c2296cb856666" providerId="LiveId" clId="{879D2E12-BAFC-421B-A76B-69CB76138BFE}" dt="2023-10-05T09:22:28.192" v="3568" actId="20577"/>
          <ac:spMkLst>
            <pc:docMk/>
            <pc:sldMk cId="256038875" sldId="334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5T09:26:22.096" v="3744" actId="20577"/>
          <ac:spMkLst>
            <pc:docMk/>
            <pc:sldMk cId="256038875" sldId="334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4T22:27:43.142" v="1903" actId="478"/>
          <ac:spMkLst>
            <pc:docMk/>
            <pc:sldMk cId="256038875" sldId="334"/>
            <ac:spMk id="11" creationId="{B029D671-F023-E808-60AD-413ABAF07A0C}"/>
          </ac:spMkLst>
        </pc:spChg>
        <pc:spChg chg="mod">
          <ac:chgData name="Arnaud Kerzmann" userId="905c2296cb856666" providerId="LiveId" clId="{879D2E12-BAFC-421B-A76B-69CB76138BFE}" dt="2023-10-05T09:14:25.958" v="3235" actId="20577"/>
          <ac:spMkLst>
            <pc:docMk/>
            <pc:sldMk cId="256038875" sldId="334"/>
            <ac:spMk id="29" creationId="{1B8A596F-CD51-4D2A-8706-57E3A2787146}"/>
          </ac:spMkLst>
        </pc:spChg>
      </pc:sldChg>
      <pc:sldChg chg="addSp delSp modSp add mod modAnim">
        <pc:chgData name="Arnaud Kerzmann" userId="905c2296cb856666" providerId="LiveId" clId="{879D2E12-BAFC-421B-A76B-69CB76138BFE}" dt="2023-10-05T09:44:25.661" v="5053" actId="20577"/>
        <pc:sldMkLst>
          <pc:docMk/>
          <pc:sldMk cId="1805626968" sldId="335"/>
        </pc:sldMkLst>
        <pc:spChg chg="del">
          <ac:chgData name="Arnaud Kerzmann" userId="905c2296cb856666" providerId="LiveId" clId="{879D2E12-BAFC-421B-A76B-69CB76138BFE}" dt="2023-10-04T20:32:27.224" v="41"/>
          <ac:spMkLst>
            <pc:docMk/>
            <pc:sldMk cId="1805626968" sldId="335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5T09:44:25.661" v="5053" actId="20577"/>
          <ac:spMkLst>
            <pc:docMk/>
            <pc:sldMk cId="1805626968" sldId="335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5T09:23:19.951" v="3719" actId="478"/>
          <ac:spMkLst>
            <pc:docMk/>
            <pc:sldMk cId="1805626968" sldId="335"/>
            <ac:spMk id="11" creationId="{B029D671-F023-E808-60AD-413ABAF07A0C}"/>
          </ac:spMkLst>
        </pc:spChg>
        <pc:spChg chg="mod">
          <ac:chgData name="Arnaud Kerzmann" userId="905c2296cb856666" providerId="LiveId" clId="{879D2E12-BAFC-421B-A76B-69CB76138BFE}" dt="2023-10-05T09:23:04.272" v="3716" actId="20577"/>
          <ac:spMkLst>
            <pc:docMk/>
            <pc:sldMk cId="1805626968" sldId="335"/>
            <ac:spMk id="29" creationId="{1B8A596F-CD51-4D2A-8706-57E3A2787146}"/>
          </ac:spMkLst>
        </pc:spChg>
        <pc:picChg chg="add mod modCrop">
          <ac:chgData name="Arnaud Kerzmann" userId="905c2296cb856666" providerId="LiveId" clId="{879D2E12-BAFC-421B-A76B-69CB76138BFE}" dt="2023-10-05T09:24:41.239" v="3740" actId="1076"/>
          <ac:picMkLst>
            <pc:docMk/>
            <pc:sldMk cId="1805626968" sldId="335"/>
            <ac:picMk id="2" creationId="{BB60E32E-DE24-1CC5-B7FD-0BA240001402}"/>
          </ac:picMkLst>
        </pc:picChg>
        <pc:picChg chg="add mod modCrop">
          <ac:chgData name="Arnaud Kerzmann" userId="905c2296cb856666" providerId="LiveId" clId="{879D2E12-BAFC-421B-A76B-69CB76138BFE}" dt="2023-10-05T09:24:38.521" v="3739" actId="1076"/>
          <ac:picMkLst>
            <pc:docMk/>
            <pc:sldMk cId="1805626968" sldId="335"/>
            <ac:picMk id="3" creationId="{A0E44F17-8DC7-8432-0326-BC24D3019ADA}"/>
          </ac:picMkLst>
        </pc:picChg>
      </pc:sldChg>
      <pc:sldChg chg="delSp modSp add mod">
        <pc:chgData name="Arnaud Kerzmann" userId="905c2296cb856666" providerId="LiveId" clId="{879D2E12-BAFC-421B-A76B-69CB76138BFE}" dt="2023-10-06T07:45:59.386" v="7623" actId="20577"/>
        <pc:sldMkLst>
          <pc:docMk/>
          <pc:sldMk cId="1316610166" sldId="336"/>
        </pc:sldMkLst>
        <pc:spChg chg="mod">
          <ac:chgData name="Arnaud Kerzmann" userId="905c2296cb856666" providerId="LiveId" clId="{879D2E12-BAFC-421B-A76B-69CB76138BFE}" dt="2023-10-06T07:45:59.386" v="7623" actId="20577"/>
          <ac:spMkLst>
            <pc:docMk/>
            <pc:sldMk cId="1316610166" sldId="336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5T09:44:35.037" v="5057" actId="20577"/>
          <ac:spMkLst>
            <pc:docMk/>
            <pc:sldMk cId="1316610166" sldId="336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5T09:36:14.032" v="4623" actId="478"/>
          <ac:spMkLst>
            <pc:docMk/>
            <pc:sldMk cId="1316610166" sldId="336"/>
            <ac:spMk id="11" creationId="{B029D671-F023-E808-60AD-413ABAF07A0C}"/>
          </ac:spMkLst>
        </pc:spChg>
        <pc:spChg chg="mod">
          <ac:chgData name="Arnaud Kerzmann" userId="905c2296cb856666" providerId="LiveId" clId="{879D2E12-BAFC-421B-A76B-69CB76138BFE}" dt="2023-10-05T09:36:07.998" v="4622" actId="20577"/>
          <ac:spMkLst>
            <pc:docMk/>
            <pc:sldMk cId="1316610166" sldId="336"/>
            <ac:spMk id="29" creationId="{1B8A596F-CD51-4D2A-8706-57E3A2787146}"/>
          </ac:spMkLst>
        </pc:spChg>
      </pc:sldChg>
      <pc:sldChg chg="addSp delSp modSp add mod delAnim modAnim">
        <pc:chgData name="Arnaud Kerzmann" userId="905c2296cb856666" providerId="LiveId" clId="{879D2E12-BAFC-421B-A76B-69CB76138BFE}" dt="2023-10-05T09:52:00.777" v="5474" actId="1076"/>
        <pc:sldMkLst>
          <pc:docMk/>
          <pc:sldMk cId="532539318" sldId="337"/>
        </pc:sldMkLst>
        <pc:spChg chg="add mod">
          <ac:chgData name="Arnaud Kerzmann" userId="905c2296cb856666" providerId="LiveId" clId="{879D2E12-BAFC-421B-A76B-69CB76138BFE}" dt="2023-10-05T09:51:58.016" v="5473" actId="1076"/>
          <ac:spMkLst>
            <pc:docMk/>
            <pc:sldMk cId="532539318" sldId="337"/>
            <ac:spMk id="5" creationId="{BCA45155-6041-AF92-0CD2-B8D79C332269}"/>
          </ac:spMkLst>
        </pc:spChg>
        <pc:spChg chg="del">
          <ac:chgData name="Arnaud Kerzmann" userId="905c2296cb856666" providerId="LiveId" clId="{879D2E12-BAFC-421B-A76B-69CB76138BFE}" dt="2023-10-04T20:41:58.122" v="57"/>
          <ac:spMkLst>
            <pc:docMk/>
            <pc:sldMk cId="532539318" sldId="337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5T09:49:38.215" v="5312" actId="1076"/>
          <ac:spMkLst>
            <pc:docMk/>
            <pc:sldMk cId="532539318" sldId="337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5T09:45:58.085" v="5281" actId="478"/>
          <ac:spMkLst>
            <pc:docMk/>
            <pc:sldMk cId="532539318" sldId="337"/>
            <ac:spMk id="11" creationId="{B029D671-F023-E808-60AD-413ABAF07A0C}"/>
          </ac:spMkLst>
        </pc:spChg>
        <pc:spChg chg="mod">
          <ac:chgData name="Arnaud Kerzmann" userId="905c2296cb856666" providerId="LiveId" clId="{879D2E12-BAFC-421B-A76B-69CB76138BFE}" dt="2023-10-05T09:44:52.681" v="5204" actId="20577"/>
          <ac:spMkLst>
            <pc:docMk/>
            <pc:sldMk cId="532539318" sldId="337"/>
            <ac:spMk id="29" creationId="{1B8A596F-CD51-4D2A-8706-57E3A2787146}"/>
          </ac:spMkLst>
        </pc:spChg>
        <pc:picChg chg="add del mod modCrop">
          <ac:chgData name="Arnaud Kerzmann" userId="905c2296cb856666" providerId="LiveId" clId="{879D2E12-BAFC-421B-A76B-69CB76138BFE}" dt="2023-10-05T09:48:34.741" v="5307" actId="21"/>
          <ac:picMkLst>
            <pc:docMk/>
            <pc:sldMk cId="532539318" sldId="337"/>
            <ac:picMk id="2" creationId="{04B024C6-5E53-C47A-3FF8-AE7E7BCE188A}"/>
          </ac:picMkLst>
        </pc:picChg>
        <pc:picChg chg="add mod modCrop">
          <ac:chgData name="Arnaud Kerzmann" userId="905c2296cb856666" providerId="LiveId" clId="{879D2E12-BAFC-421B-A76B-69CB76138BFE}" dt="2023-10-05T09:52:00.777" v="5474" actId="1076"/>
          <ac:picMkLst>
            <pc:docMk/>
            <pc:sldMk cId="532539318" sldId="337"/>
            <ac:picMk id="3" creationId="{0AD175DD-0471-DE8E-36AE-2AFA99690246}"/>
          </ac:picMkLst>
        </pc:picChg>
      </pc:sldChg>
      <pc:sldChg chg="addSp delSp modSp add mod">
        <pc:chgData name="Arnaud Kerzmann" userId="905c2296cb856666" providerId="LiveId" clId="{879D2E12-BAFC-421B-A76B-69CB76138BFE}" dt="2023-10-06T07:04:55.224" v="6200" actId="1076"/>
        <pc:sldMkLst>
          <pc:docMk/>
          <pc:sldMk cId="1316218721" sldId="338"/>
        </pc:sldMkLst>
        <pc:spChg chg="del">
          <ac:chgData name="Arnaud Kerzmann" userId="905c2296cb856666" providerId="LiveId" clId="{879D2E12-BAFC-421B-A76B-69CB76138BFE}" dt="2023-10-04T22:24:03.797" v="1864" actId="22"/>
          <ac:spMkLst>
            <pc:docMk/>
            <pc:sldMk cId="1316218721" sldId="338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6T07:04:49.154" v="6199" actId="20577"/>
          <ac:spMkLst>
            <pc:docMk/>
            <pc:sldMk cId="1316218721" sldId="338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5T09:52:32.664" v="5495" actId="478"/>
          <ac:spMkLst>
            <pc:docMk/>
            <pc:sldMk cId="1316218721" sldId="338"/>
            <ac:spMk id="11" creationId="{B029D671-F023-E808-60AD-413ABAF07A0C}"/>
          </ac:spMkLst>
        </pc:spChg>
        <pc:spChg chg="mod">
          <ac:chgData name="Arnaud Kerzmann" userId="905c2296cb856666" providerId="LiveId" clId="{879D2E12-BAFC-421B-A76B-69CB76138BFE}" dt="2023-10-05T09:52:42.720" v="5640" actId="20577"/>
          <ac:spMkLst>
            <pc:docMk/>
            <pc:sldMk cId="1316218721" sldId="338"/>
            <ac:spMk id="29" creationId="{1B8A596F-CD51-4D2A-8706-57E3A2787146}"/>
          </ac:spMkLst>
        </pc:spChg>
        <pc:picChg chg="add mod ord modCrop">
          <ac:chgData name="Arnaud Kerzmann" userId="905c2296cb856666" providerId="LiveId" clId="{879D2E12-BAFC-421B-A76B-69CB76138BFE}" dt="2023-10-06T07:04:55.224" v="6200" actId="1076"/>
          <ac:picMkLst>
            <pc:docMk/>
            <pc:sldMk cId="1316218721" sldId="338"/>
            <ac:picMk id="3" creationId="{A691DE3E-67A0-55AE-9702-A5E81CBCB39C}"/>
          </ac:picMkLst>
        </pc:picChg>
      </pc:sldChg>
      <pc:sldChg chg="addSp delSp modSp add mod chgLayout">
        <pc:chgData name="Arnaud Kerzmann" userId="905c2296cb856666" providerId="LiveId" clId="{879D2E12-BAFC-421B-A76B-69CB76138BFE}" dt="2023-10-06T07:02:30.571" v="6196" actId="947"/>
        <pc:sldMkLst>
          <pc:docMk/>
          <pc:sldMk cId="3693566550" sldId="339"/>
        </pc:sldMkLst>
        <pc:spChg chg="add del mod ord">
          <ac:chgData name="Arnaud Kerzmann" userId="905c2296cb856666" providerId="LiveId" clId="{879D2E12-BAFC-421B-A76B-69CB76138BFE}" dt="2023-10-05T09:02:04.404" v="2778" actId="700"/>
          <ac:spMkLst>
            <pc:docMk/>
            <pc:sldMk cId="3693566550" sldId="339"/>
            <ac:spMk id="2" creationId="{C194CEA7-C357-DFAA-9747-70226F25334E}"/>
          </ac:spMkLst>
        </pc:spChg>
        <pc:spChg chg="add del mod ord">
          <ac:chgData name="Arnaud Kerzmann" userId="905c2296cb856666" providerId="LiveId" clId="{879D2E12-BAFC-421B-A76B-69CB76138BFE}" dt="2023-10-05T09:02:04.404" v="2778" actId="700"/>
          <ac:spMkLst>
            <pc:docMk/>
            <pc:sldMk cId="3693566550" sldId="339"/>
            <ac:spMk id="4" creationId="{737560B4-9C1B-1CF4-B8DE-314FAC26F504}"/>
          </ac:spMkLst>
        </pc:spChg>
        <pc:spChg chg="del">
          <ac:chgData name="Arnaud Kerzmann" userId="905c2296cb856666" providerId="LiveId" clId="{879D2E12-BAFC-421B-A76B-69CB76138BFE}" dt="2023-10-04T21:51:30.218" v="1704" actId="22"/>
          <ac:spMkLst>
            <pc:docMk/>
            <pc:sldMk cId="3693566550" sldId="339"/>
            <ac:spMk id="7" creationId="{CA76CB8C-EF92-FBCA-AAFD-E6A933130C91}"/>
          </ac:spMkLst>
        </pc:spChg>
        <pc:spChg chg="mod ord">
          <ac:chgData name="Arnaud Kerzmann" userId="905c2296cb856666" providerId="LiveId" clId="{879D2E12-BAFC-421B-A76B-69CB76138BFE}" dt="2023-10-06T07:02:30.571" v="6196" actId="947"/>
          <ac:spMkLst>
            <pc:docMk/>
            <pc:sldMk cId="3693566550" sldId="339"/>
            <ac:spMk id="9" creationId="{9780A6AC-FDA8-0A75-C98E-B003BCEBDE59}"/>
          </ac:spMkLst>
        </pc:spChg>
        <pc:spChg chg="del">
          <ac:chgData name="Arnaud Kerzmann" userId="905c2296cb856666" providerId="LiveId" clId="{879D2E12-BAFC-421B-A76B-69CB76138BFE}" dt="2023-10-04T21:54:16.588" v="1863" actId="478"/>
          <ac:spMkLst>
            <pc:docMk/>
            <pc:sldMk cId="3693566550" sldId="339"/>
            <ac:spMk id="11" creationId="{B029D671-F023-E808-60AD-413ABAF07A0C}"/>
          </ac:spMkLst>
        </pc:spChg>
        <pc:spChg chg="add del mod">
          <ac:chgData name="Arnaud Kerzmann" userId="905c2296cb856666" providerId="LiveId" clId="{879D2E12-BAFC-421B-A76B-69CB76138BFE}" dt="2023-10-05T09:02:04.404" v="2778" actId="700"/>
          <ac:spMkLst>
            <pc:docMk/>
            <pc:sldMk cId="3693566550" sldId="339"/>
            <ac:spMk id="29" creationId="{1B8A596F-CD51-4D2A-8706-57E3A2787146}"/>
          </ac:spMkLst>
        </pc:spChg>
        <pc:picChg chg="add mod ord modCrop">
          <ac:chgData name="Arnaud Kerzmann" userId="905c2296cb856666" providerId="LiveId" clId="{879D2E12-BAFC-421B-A76B-69CB76138BFE}" dt="2023-10-06T06:54:53.119" v="5993" actId="1076"/>
          <ac:picMkLst>
            <pc:docMk/>
            <pc:sldMk cId="3693566550" sldId="339"/>
            <ac:picMk id="3" creationId="{E2D1828D-0682-C5B4-CE6F-BDCB53BE1FD1}"/>
          </ac:picMkLst>
        </pc:picChg>
      </pc:sldChg>
      <pc:sldChg chg="addSp delSp modSp add mod modClrScheme chgLayout">
        <pc:chgData name="Arnaud Kerzmann" userId="905c2296cb856666" providerId="LiveId" clId="{879D2E12-BAFC-421B-A76B-69CB76138BFE}" dt="2023-10-06T06:47:57.882" v="5869" actId="947"/>
        <pc:sldMkLst>
          <pc:docMk/>
          <pc:sldMk cId="3371259673" sldId="340"/>
        </pc:sldMkLst>
        <pc:spChg chg="add mod ord">
          <ac:chgData name="Arnaud Kerzmann" userId="905c2296cb856666" providerId="LiveId" clId="{879D2E12-BAFC-421B-A76B-69CB76138BFE}" dt="2023-10-04T21:37:47.179" v="1640" actId="700"/>
          <ac:spMkLst>
            <pc:docMk/>
            <pc:sldMk cId="3371259673" sldId="340"/>
            <ac:spMk id="2" creationId="{1869E8BD-75E5-B7E2-A041-0596F9352604}"/>
          </ac:spMkLst>
        </pc:spChg>
        <pc:spChg chg="del mod ord">
          <ac:chgData name="Arnaud Kerzmann" userId="905c2296cb856666" providerId="LiveId" clId="{879D2E12-BAFC-421B-A76B-69CB76138BFE}" dt="2023-10-04T21:37:47.179" v="1640" actId="700"/>
          <ac:spMkLst>
            <pc:docMk/>
            <pc:sldMk cId="3371259673" sldId="340"/>
            <ac:spMk id="3" creationId="{E4FA9343-6256-A607-11A7-9824A9287B30}"/>
          </ac:spMkLst>
        </pc:spChg>
        <pc:spChg chg="add del mod ord">
          <ac:chgData name="Arnaud Kerzmann" userId="905c2296cb856666" providerId="LiveId" clId="{879D2E12-BAFC-421B-A76B-69CB76138BFE}" dt="2023-10-04T21:38:01.400" v="1641" actId="478"/>
          <ac:spMkLst>
            <pc:docMk/>
            <pc:sldMk cId="3371259673" sldId="340"/>
            <ac:spMk id="4" creationId="{2F4C6FB4-2104-6D83-503C-EFBFFE08926D}"/>
          </ac:spMkLst>
        </pc:spChg>
        <pc:spChg chg="add mod ord">
          <ac:chgData name="Arnaud Kerzmann" userId="905c2296cb856666" providerId="LiveId" clId="{879D2E12-BAFC-421B-A76B-69CB76138BFE}" dt="2023-10-06T06:47:57.882" v="5869" actId="947"/>
          <ac:spMkLst>
            <pc:docMk/>
            <pc:sldMk cId="3371259673" sldId="340"/>
            <ac:spMk id="5" creationId="{EC25BDF4-9852-753B-8DDF-B18D7CC95E7C}"/>
          </ac:spMkLst>
        </pc:spChg>
        <pc:spChg chg="add mod ord">
          <ac:chgData name="Arnaud Kerzmann" userId="905c2296cb856666" providerId="LiveId" clId="{879D2E12-BAFC-421B-A76B-69CB76138BFE}" dt="2023-10-05T08:56:53.572" v="2506" actId="114"/>
          <ac:spMkLst>
            <pc:docMk/>
            <pc:sldMk cId="3371259673" sldId="340"/>
            <ac:spMk id="6" creationId="{653FD0FD-6979-DE64-C0AB-8A1A06D0B550}"/>
          </ac:spMkLst>
        </pc:spChg>
        <pc:spChg chg="del mod ord">
          <ac:chgData name="Arnaud Kerzmann" userId="905c2296cb856666" providerId="LiveId" clId="{879D2E12-BAFC-421B-A76B-69CB76138BFE}" dt="2023-10-04T21:37:47.179" v="1640" actId="700"/>
          <ac:spMkLst>
            <pc:docMk/>
            <pc:sldMk cId="3371259673" sldId="340"/>
            <ac:spMk id="7" creationId="{CA76CB8C-EF92-FBCA-AAFD-E6A933130C91}"/>
          </ac:spMkLst>
        </pc:spChg>
        <pc:spChg chg="mod ord">
          <ac:chgData name="Arnaud Kerzmann" userId="905c2296cb856666" providerId="LiveId" clId="{879D2E12-BAFC-421B-A76B-69CB76138BFE}" dt="2023-10-04T21:37:47.179" v="1640" actId="700"/>
          <ac:spMkLst>
            <pc:docMk/>
            <pc:sldMk cId="3371259673" sldId="340"/>
            <ac:spMk id="9" creationId="{9780A6AC-FDA8-0A75-C98E-B003BCEBDE59}"/>
          </ac:spMkLst>
        </pc:spChg>
      </pc:sldChg>
      <pc:sldChg chg="modSp add mod ord">
        <pc:chgData name="Arnaud Kerzmann" userId="905c2296cb856666" providerId="LiveId" clId="{879D2E12-BAFC-421B-A76B-69CB76138BFE}" dt="2023-10-05T08:54:34.160" v="2437" actId="14100"/>
        <pc:sldMkLst>
          <pc:docMk/>
          <pc:sldMk cId="3713339933" sldId="341"/>
        </pc:sldMkLst>
        <pc:spChg chg="mod">
          <ac:chgData name="Arnaud Kerzmann" userId="905c2296cb856666" providerId="LiveId" clId="{879D2E12-BAFC-421B-A76B-69CB76138BFE}" dt="2023-10-05T08:54:34.160" v="2437" actId="14100"/>
          <ac:spMkLst>
            <pc:docMk/>
            <pc:sldMk cId="3713339933" sldId="341"/>
            <ac:spMk id="7" creationId="{CA76CB8C-EF92-FBCA-AAFD-E6A933130C91}"/>
          </ac:spMkLst>
        </pc:spChg>
      </pc:sldChg>
      <pc:sldChg chg="addSp modSp add mod ord">
        <pc:chgData name="Arnaud Kerzmann" userId="905c2296cb856666" providerId="LiveId" clId="{879D2E12-BAFC-421B-A76B-69CB76138BFE}" dt="2023-10-05T09:37:08.548" v="4637" actId="1076"/>
        <pc:sldMkLst>
          <pc:docMk/>
          <pc:sldMk cId="2792280029" sldId="342"/>
        </pc:sldMkLst>
        <pc:spChg chg="mod">
          <ac:chgData name="Arnaud Kerzmann" userId="905c2296cb856666" providerId="LiveId" clId="{879D2E12-BAFC-421B-A76B-69CB76138BFE}" dt="2023-10-05T09:37:08.548" v="4637" actId="1076"/>
          <ac:spMkLst>
            <pc:docMk/>
            <pc:sldMk cId="2792280029" sldId="342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5T09:07:55.739" v="2901" actId="207"/>
          <ac:spMkLst>
            <pc:docMk/>
            <pc:sldMk cId="2792280029" sldId="342"/>
            <ac:spMk id="9" creationId="{9780A6AC-FDA8-0A75-C98E-B003BCEBDE59}"/>
          </ac:spMkLst>
        </pc:spChg>
        <pc:picChg chg="add mod">
          <ac:chgData name="Arnaud Kerzmann" userId="905c2296cb856666" providerId="LiveId" clId="{879D2E12-BAFC-421B-A76B-69CB76138BFE}" dt="2023-10-04T22:35:50.728" v="2214" actId="1076"/>
          <ac:picMkLst>
            <pc:docMk/>
            <pc:sldMk cId="2792280029" sldId="342"/>
            <ac:picMk id="2" creationId="{765D2F05-CD0E-E6C0-CE02-BE4B9A2B1BCB}"/>
          </ac:picMkLst>
        </pc:picChg>
      </pc:sldChg>
      <pc:sldChg chg="modSp add mod ord">
        <pc:chgData name="Arnaud Kerzmann" userId="905c2296cb856666" providerId="LiveId" clId="{879D2E12-BAFC-421B-A76B-69CB76138BFE}" dt="2023-10-06T11:17:35.022" v="8226" actId="20577"/>
        <pc:sldMkLst>
          <pc:docMk/>
          <pc:sldMk cId="3642712181" sldId="343"/>
        </pc:sldMkLst>
        <pc:spChg chg="mod">
          <ac:chgData name="Arnaud Kerzmann" userId="905c2296cb856666" providerId="LiveId" clId="{879D2E12-BAFC-421B-A76B-69CB76138BFE}" dt="2023-10-06T11:17:35.022" v="8226" actId="20577"/>
          <ac:spMkLst>
            <pc:docMk/>
            <pc:sldMk cId="3642712181" sldId="343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5T08:58:55.617" v="2544" actId="20577"/>
          <ac:spMkLst>
            <pc:docMk/>
            <pc:sldMk cId="3642712181" sldId="343"/>
            <ac:spMk id="9" creationId="{9780A6AC-FDA8-0A75-C98E-B003BCEBDE59}"/>
          </ac:spMkLst>
        </pc:spChg>
      </pc:sldChg>
      <pc:sldChg chg="modSp add mod">
        <pc:chgData name="Arnaud Kerzmann" userId="905c2296cb856666" providerId="LiveId" clId="{879D2E12-BAFC-421B-A76B-69CB76138BFE}" dt="2023-10-05T09:34:45.388" v="4476" actId="20577"/>
        <pc:sldMkLst>
          <pc:docMk/>
          <pc:sldMk cId="2379236278" sldId="344"/>
        </pc:sldMkLst>
        <pc:spChg chg="mod">
          <ac:chgData name="Arnaud Kerzmann" userId="905c2296cb856666" providerId="LiveId" clId="{879D2E12-BAFC-421B-A76B-69CB76138BFE}" dt="2023-10-05T09:34:45.388" v="4476" actId="20577"/>
          <ac:spMkLst>
            <pc:docMk/>
            <pc:sldMk cId="2379236278" sldId="344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5T09:26:35.788" v="3747" actId="20577"/>
          <ac:spMkLst>
            <pc:docMk/>
            <pc:sldMk cId="2379236278" sldId="344"/>
            <ac:spMk id="9" creationId="{9780A6AC-FDA8-0A75-C98E-B003BCEBDE59}"/>
          </ac:spMkLst>
        </pc:spChg>
      </pc:sldChg>
      <pc:sldChg chg="modSp add mod ord">
        <pc:chgData name="Arnaud Kerzmann" userId="905c2296cb856666" providerId="LiveId" clId="{879D2E12-BAFC-421B-A76B-69CB76138BFE}" dt="2023-10-06T11:17:00.701" v="8225" actId="20577"/>
        <pc:sldMkLst>
          <pc:docMk/>
          <pc:sldMk cId="3202853423" sldId="345"/>
        </pc:sldMkLst>
        <pc:spChg chg="mod">
          <ac:chgData name="Arnaud Kerzmann" userId="905c2296cb856666" providerId="LiveId" clId="{879D2E12-BAFC-421B-A76B-69CB76138BFE}" dt="2023-10-06T11:17:00.701" v="8225" actId="20577"/>
          <ac:spMkLst>
            <pc:docMk/>
            <pc:sldMk cId="3202853423" sldId="345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5T09:55:36.837" v="5759" actId="20577"/>
          <ac:spMkLst>
            <pc:docMk/>
            <pc:sldMk cId="3202853423" sldId="345"/>
            <ac:spMk id="9" creationId="{9780A6AC-FDA8-0A75-C98E-B003BCEBDE59}"/>
          </ac:spMkLst>
        </pc:spChg>
      </pc:sldChg>
      <pc:sldChg chg="addSp modSp add mod ord">
        <pc:chgData name="Arnaud Kerzmann" userId="905c2296cb856666" providerId="LiveId" clId="{879D2E12-BAFC-421B-A76B-69CB76138BFE}" dt="2023-10-06T07:32:40.149" v="7392" actId="1076"/>
        <pc:sldMkLst>
          <pc:docMk/>
          <pc:sldMk cId="1634590875" sldId="346"/>
        </pc:sldMkLst>
        <pc:spChg chg="mod">
          <ac:chgData name="Arnaud Kerzmann" userId="905c2296cb856666" providerId="LiveId" clId="{879D2E12-BAFC-421B-A76B-69CB76138BFE}" dt="2023-10-06T07:22:14.766" v="7382" actId="5793"/>
          <ac:spMkLst>
            <pc:docMk/>
            <pc:sldMk cId="1634590875" sldId="346"/>
            <ac:spMk id="7" creationId="{CA76CB8C-EF92-FBCA-AAFD-E6A933130C91}"/>
          </ac:spMkLst>
        </pc:spChg>
        <pc:spChg chg="mod">
          <ac:chgData name="Arnaud Kerzmann" userId="905c2296cb856666" providerId="LiveId" clId="{879D2E12-BAFC-421B-A76B-69CB76138BFE}" dt="2023-10-06T07:22:01.259" v="7129" actId="20577"/>
          <ac:spMkLst>
            <pc:docMk/>
            <pc:sldMk cId="1634590875" sldId="346"/>
            <ac:spMk id="9" creationId="{9780A6AC-FDA8-0A75-C98E-B003BCEBDE59}"/>
          </ac:spMkLst>
        </pc:spChg>
        <pc:picChg chg="add mod modCrop">
          <ac:chgData name="Arnaud Kerzmann" userId="905c2296cb856666" providerId="LiveId" clId="{879D2E12-BAFC-421B-A76B-69CB76138BFE}" dt="2023-10-06T07:32:40.149" v="7392" actId="1076"/>
          <ac:picMkLst>
            <pc:docMk/>
            <pc:sldMk cId="1634590875" sldId="346"/>
            <ac:picMk id="3" creationId="{1447871C-2707-0D24-10E9-1F0152117DD3}"/>
          </ac:picMkLst>
        </pc:picChg>
      </pc:sldChg>
      <pc:sldChg chg="addSp modSp add mod ord">
        <pc:chgData name="Arnaud Kerzmann" userId="905c2296cb856666" providerId="LiveId" clId="{879D2E12-BAFC-421B-A76B-69CB76138BFE}" dt="2023-10-06T10:53:35.374" v="8032" actId="114"/>
        <pc:sldMkLst>
          <pc:docMk/>
          <pc:sldMk cId="3611619134" sldId="347"/>
        </pc:sldMkLst>
        <pc:spChg chg="mod">
          <ac:chgData name="Arnaud Kerzmann" userId="905c2296cb856666" providerId="LiveId" clId="{879D2E12-BAFC-421B-A76B-69CB76138BFE}" dt="2023-10-06T10:53:35.374" v="8032" actId="114"/>
          <ac:spMkLst>
            <pc:docMk/>
            <pc:sldMk cId="3611619134" sldId="347"/>
            <ac:spMk id="7" creationId="{CA76CB8C-EF92-FBCA-AAFD-E6A933130C91}"/>
          </ac:spMkLst>
        </pc:spChg>
        <pc:picChg chg="add mod modCrop">
          <ac:chgData name="Arnaud Kerzmann" userId="905c2296cb856666" providerId="LiveId" clId="{879D2E12-BAFC-421B-A76B-69CB76138BFE}" dt="2023-10-06T10:38:05.037" v="7878" actId="1076"/>
          <ac:picMkLst>
            <pc:docMk/>
            <pc:sldMk cId="3611619134" sldId="347"/>
            <ac:picMk id="3" creationId="{0950B754-2C15-6A70-2BDC-55665F1D5645}"/>
          </ac:picMkLst>
        </pc:picChg>
      </pc:sldChg>
      <pc:sldChg chg="addSp modSp add mod ord">
        <pc:chgData name="Arnaud Kerzmann" userId="905c2296cb856666" providerId="LiveId" clId="{879D2E12-BAFC-421B-A76B-69CB76138BFE}" dt="2023-10-06T11:16:35.544" v="8222" actId="1076"/>
        <pc:sldMkLst>
          <pc:docMk/>
          <pc:sldMk cId="2070467652" sldId="348"/>
        </pc:sldMkLst>
        <pc:spChg chg="mod">
          <ac:chgData name="Arnaud Kerzmann" userId="905c2296cb856666" providerId="LiveId" clId="{879D2E12-BAFC-421B-A76B-69CB76138BFE}" dt="2023-10-06T11:05:31.874" v="8092" actId="1076"/>
          <ac:spMkLst>
            <pc:docMk/>
            <pc:sldMk cId="2070467652" sldId="348"/>
            <ac:spMk id="7" creationId="{CA76CB8C-EF92-FBCA-AAFD-E6A933130C91}"/>
          </ac:spMkLst>
        </pc:spChg>
        <pc:picChg chg="add mod modCrop">
          <ac:chgData name="Arnaud Kerzmann" userId="905c2296cb856666" providerId="LiveId" clId="{879D2E12-BAFC-421B-A76B-69CB76138BFE}" dt="2023-10-06T11:16:35.544" v="8222" actId="1076"/>
          <ac:picMkLst>
            <pc:docMk/>
            <pc:sldMk cId="2070467652" sldId="348"/>
            <ac:picMk id="3" creationId="{CDE1D87F-EE45-34F5-7563-C6F88D5242A6}"/>
          </ac:picMkLst>
        </pc:picChg>
      </pc:sldChg>
      <pc:sldChg chg="addSp modSp add mod">
        <pc:chgData name="Arnaud Kerzmann" userId="905c2296cb856666" providerId="LiveId" clId="{879D2E12-BAFC-421B-A76B-69CB76138BFE}" dt="2023-10-06T07:37:45.205" v="7411" actId="1076"/>
        <pc:sldMkLst>
          <pc:docMk/>
          <pc:sldMk cId="2842460379" sldId="349"/>
        </pc:sldMkLst>
        <pc:picChg chg="add mod modCrop">
          <ac:chgData name="Arnaud Kerzmann" userId="905c2296cb856666" providerId="LiveId" clId="{879D2E12-BAFC-421B-A76B-69CB76138BFE}" dt="2023-10-06T07:37:45.205" v="7411" actId="1076"/>
          <ac:picMkLst>
            <pc:docMk/>
            <pc:sldMk cId="2842460379" sldId="349"/>
            <ac:picMk id="3" creationId="{E6ECE212-A0AB-61AE-494A-584B899D6B3C}"/>
          </ac:picMkLst>
        </pc:picChg>
      </pc:sldChg>
      <pc:sldChg chg="addSp modSp add mod">
        <pc:chgData name="Arnaud Kerzmann" userId="905c2296cb856666" providerId="LiveId" clId="{879D2E12-BAFC-421B-A76B-69CB76138BFE}" dt="2023-10-06T11:09:39.446" v="8122" actId="1076"/>
        <pc:sldMkLst>
          <pc:docMk/>
          <pc:sldMk cId="1224547971" sldId="350"/>
        </pc:sldMkLst>
        <pc:picChg chg="add mod modCrop">
          <ac:chgData name="Arnaud Kerzmann" userId="905c2296cb856666" providerId="LiveId" clId="{879D2E12-BAFC-421B-A76B-69CB76138BFE}" dt="2023-10-06T11:09:39.446" v="8122" actId="1076"/>
          <ac:picMkLst>
            <pc:docMk/>
            <pc:sldMk cId="1224547971" sldId="350"/>
            <ac:picMk id="3" creationId="{0C4A1264-D20B-3362-1F60-8D217F1FE256}"/>
          </ac:picMkLst>
        </pc:picChg>
        <pc:picChg chg="add mod modCrop">
          <ac:chgData name="Arnaud Kerzmann" userId="905c2296cb856666" providerId="LiveId" clId="{879D2E12-BAFC-421B-A76B-69CB76138BFE}" dt="2023-10-06T11:09:24.390" v="8118" actId="1076"/>
          <ac:picMkLst>
            <pc:docMk/>
            <pc:sldMk cId="1224547971" sldId="350"/>
            <ac:picMk id="5" creationId="{BA7FB8DB-A21A-4E39-CCDC-9585B6CBDF66}"/>
          </ac:picMkLst>
        </pc:picChg>
      </pc:sldChg>
      <pc:sldChg chg="addSp delSp modSp add mod chgLayout">
        <pc:chgData name="Arnaud Kerzmann" userId="905c2296cb856666" providerId="LiveId" clId="{879D2E12-BAFC-421B-A76B-69CB76138BFE}" dt="2023-10-06T10:03:16.520" v="7650" actId="1076"/>
        <pc:sldMkLst>
          <pc:docMk/>
          <pc:sldMk cId="63024618" sldId="351"/>
        </pc:sldMkLst>
        <pc:spChg chg="add mod ord">
          <ac:chgData name="Arnaud Kerzmann" userId="905c2296cb856666" providerId="LiveId" clId="{879D2E12-BAFC-421B-A76B-69CB76138BFE}" dt="2023-10-06T09:57:35.761" v="7637" actId="700"/>
          <ac:spMkLst>
            <pc:docMk/>
            <pc:sldMk cId="63024618" sldId="351"/>
            <ac:spMk id="2" creationId="{C5B1561D-7048-481E-8F0E-6B67E6A68E91}"/>
          </ac:spMkLst>
        </pc:spChg>
        <pc:spChg chg="add del mod ord">
          <ac:chgData name="Arnaud Kerzmann" userId="905c2296cb856666" providerId="LiveId" clId="{879D2E12-BAFC-421B-A76B-69CB76138BFE}" dt="2023-10-06T09:57:49.036" v="7638" actId="478"/>
          <ac:spMkLst>
            <pc:docMk/>
            <pc:sldMk cId="63024618" sldId="351"/>
            <ac:spMk id="4" creationId="{341721C6-CCB4-9E38-47AA-DD70614D3461}"/>
          </ac:spMkLst>
        </pc:spChg>
        <pc:spChg chg="mod ord">
          <ac:chgData name="Arnaud Kerzmann" userId="905c2296cb856666" providerId="LiveId" clId="{879D2E12-BAFC-421B-A76B-69CB76138BFE}" dt="2023-10-06T09:57:35.761" v="7637" actId="700"/>
          <ac:spMkLst>
            <pc:docMk/>
            <pc:sldMk cId="63024618" sldId="351"/>
            <ac:spMk id="7" creationId="{CA76CB8C-EF92-FBCA-AAFD-E6A933130C91}"/>
          </ac:spMkLst>
        </pc:spChg>
        <pc:spChg chg="mod ord">
          <ac:chgData name="Arnaud Kerzmann" userId="905c2296cb856666" providerId="LiveId" clId="{879D2E12-BAFC-421B-A76B-69CB76138BFE}" dt="2023-10-06T09:57:35.761" v="7637" actId="700"/>
          <ac:spMkLst>
            <pc:docMk/>
            <pc:sldMk cId="63024618" sldId="351"/>
            <ac:spMk id="9" creationId="{9780A6AC-FDA8-0A75-C98E-B003BCEBDE59}"/>
          </ac:spMkLst>
        </pc:spChg>
        <pc:picChg chg="del">
          <ac:chgData name="Arnaud Kerzmann" userId="905c2296cb856666" providerId="LiveId" clId="{879D2E12-BAFC-421B-A76B-69CB76138BFE}" dt="2023-10-06T09:57:29.193" v="7636" actId="478"/>
          <ac:picMkLst>
            <pc:docMk/>
            <pc:sldMk cId="63024618" sldId="351"/>
            <ac:picMk id="3" creationId="{0950B754-2C15-6A70-2BDC-55665F1D5645}"/>
          </ac:picMkLst>
        </pc:picChg>
        <pc:picChg chg="add mod modCrop">
          <ac:chgData name="Arnaud Kerzmann" userId="905c2296cb856666" providerId="LiveId" clId="{879D2E12-BAFC-421B-A76B-69CB76138BFE}" dt="2023-10-06T10:03:16.520" v="7650" actId="1076"/>
          <ac:picMkLst>
            <pc:docMk/>
            <pc:sldMk cId="63024618" sldId="351"/>
            <ac:picMk id="6" creationId="{B7111318-9AE9-040F-9CCC-F09A672B4B23}"/>
          </ac:picMkLst>
        </pc:picChg>
      </pc:sldChg>
      <pc:sldChg chg="new del">
        <pc:chgData name="Arnaud Kerzmann" userId="905c2296cb856666" providerId="LiveId" clId="{879D2E12-BAFC-421B-A76B-69CB76138BFE}" dt="2023-10-06T07:40:20.940" v="7501" actId="2696"/>
        <pc:sldMkLst>
          <pc:docMk/>
          <pc:sldMk cId="1090522595" sldId="351"/>
        </pc:sldMkLst>
      </pc:sldChg>
      <pc:sldChg chg="addSp delSp modSp add mod ord chgLayout">
        <pc:chgData name="Arnaud Kerzmann" userId="905c2296cb856666" providerId="LiveId" clId="{879D2E12-BAFC-421B-A76B-69CB76138BFE}" dt="2023-10-06T10:50:20.790" v="8004" actId="114"/>
        <pc:sldMkLst>
          <pc:docMk/>
          <pc:sldMk cId="3991288872" sldId="352"/>
        </pc:sldMkLst>
        <pc:spChg chg="del">
          <ac:chgData name="Arnaud Kerzmann" userId="905c2296cb856666" providerId="LiveId" clId="{879D2E12-BAFC-421B-A76B-69CB76138BFE}" dt="2023-10-06T10:03:42.873" v="7653" actId="700"/>
          <ac:spMkLst>
            <pc:docMk/>
            <pc:sldMk cId="3991288872" sldId="352"/>
            <ac:spMk id="2" creationId="{C5B1561D-7048-481E-8F0E-6B67E6A68E91}"/>
          </ac:spMkLst>
        </pc:spChg>
        <pc:spChg chg="add del mod ord">
          <ac:chgData name="Arnaud Kerzmann" userId="905c2296cb856666" providerId="LiveId" clId="{879D2E12-BAFC-421B-A76B-69CB76138BFE}" dt="2023-10-06T10:04:01.559" v="7655" actId="700"/>
          <ac:spMkLst>
            <pc:docMk/>
            <pc:sldMk cId="3991288872" sldId="352"/>
            <ac:spMk id="3" creationId="{D9C8E7A5-9785-F0B3-3F06-A95D9A45A2E3}"/>
          </ac:spMkLst>
        </pc:spChg>
        <pc:spChg chg="add del mod ord">
          <ac:chgData name="Arnaud Kerzmann" userId="905c2296cb856666" providerId="LiveId" clId="{879D2E12-BAFC-421B-A76B-69CB76138BFE}" dt="2023-10-06T10:03:53.144" v="7654" actId="478"/>
          <ac:spMkLst>
            <pc:docMk/>
            <pc:sldMk cId="3991288872" sldId="352"/>
            <ac:spMk id="4" creationId="{1C4A365E-B707-B071-F3DB-202F5EBD7309}"/>
          </ac:spMkLst>
        </pc:spChg>
        <pc:spChg chg="add mod ord">
          <ac:chgData name="Arnaud Kerzmann" userId="905c2296cb856666" providerId="LiveId" clId="{879D2E12-BAFC-421B-A76B-69CB76138BFE}" dt="2023-10-06T10:04:01.559" v="7655" actId="700"/>
          <ac:spMkLst>
            <pc:docMk/>
            <pc:sldMk cId="3991288872" sldId="352"/>
            <ac:spMk id="5" creationId="{6746608B-49D0-6B5D-52C2-160D6A0C0A25}"/>
          </ac:spMkLst>
        </pc:spChg>
        <pc:spChg chg="mod ord">
          <ac:chgData name="Arnaud Kerzmann" userId="905c2296cb856666" providerId="LiveId" clId="{879D2E12-BAFC-421B-A76B-69CB76138BFE}" dt="2023-10-06T10:50:20.790" v="8004" actId="114"/>
          <ac:spMkLst>
            <pc:docMk/>
            <pc:sldMk cId="3991288872" sldId="352"/>
            <ac:spMk id="7" creationId="{CA76CB8C-EF92-FBCA-AAFD-E6A933130C91}"/>
          </ac:spMkLst>
        </pc:spChg>
        <pc:spChg chg="add del mod ord">
          <ac:chgData name="Arnaud Kerzmann" userId="905c2296cb856666" providerId="LiveId" clId="{879D2E12-BAFC-421B-A76B-69CB76138BFE}" dt="2023-10-06T10:04:08.423" v="7656" actId="478"/>
          <ac:spMkLst>
            <pc:docMk/>
            <pc:sldMk cId="3991288872" sldId="352"/>
            <ac:spMk id="8" creationId="{D7953E59-C6B8-53AF-3BB2-1CE36F453BCE}"/>
          </ac:spMkLst>
        </pc:spChg>
        <pc:spChg chg="mod ord">
          <ac:chgData name="Arnaud Kerzmann" userId="905c2296cb856666" providerId="LiveId" clId="{879D2E12-BAFC-421B-A76B-69CB76138BFE}" dt="2023-10-06T10:04:01.559" v="7655" actId="700"/>
          <ac:spMkLst>
            <pc:docMk/>
            <pc:sldMk cId="3991288872" sldId="352"/>
            <ac:spMk id="9" creationId="{9780A6AC-FDA8-0A75-C98E-B003BCEBDE59}"/>
          </ac:spMkLst>
        </pc:spChg>
        <pc:picChg chg="del">
          <ac:chgData name="Arnaud Kerzmann" userId="905c2296cb856666" providerId="LiveId" clId="{879D2E12-BAFC-421B-A76B-69CB76138BFE}" dt="2023-10-06T10:03:37.657" v="7652" actId="478"/>
          <ac:picMkLst>
            <pc:docMk/>
            <pc:sldMk cId="3991288872" sldId="352"/>
            <ac:picMk id="6" creationId="{B7111318-9AE9-040F-9CCC-F09A672B4B23}"/>
          </ac:picMkLst>
        </pc:picChg>
        <pc:picChg chg="add mod modCrop">
          <ac:chgData name="Arnaud Kerzmann" userId="905c2296cb856666" providerId="LiveId" clId="{879D2E12-BAFC-421B-A76B-69CB76138BFE}" dt="2023-10-06T10:48:42.304" v="7972" actId="1076"/>
          <ac:picMkLst>
            <pc:docMk/>
            <pc:sldMk cId="3991288872" sldId="352"/>
            <ac:picMk id="11" creationId="{69B7D018-D45E-23DC-9F01-03CE6B533E3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1">
            <a:extLst>
              <a:ext uri="{FF2B5EF4-FFF2-40B4-BE49-F238E27FC236}">
                <a16:creationId xmlns:a16="http://schemas.microsoft.com/office/drawing/2014/main" id="{CB08FDEF-2A58-4D3A-A93B-D7A79DB4A6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913AD308-0AD0-4591-B082-075D00E3F7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E4B91F-003E-44DA-B661-041F547EFFAD}" type="datetime5">
              <a:rPr lang="en-IN" cap="all" smtClean="0"/>
              <a:t>6-Oct-23</a:t>
            </a:fld>
            <a:endParaRPr lang="en-IN" cap="all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6CB2D90-8411-47FE-93B1-48A5389A867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90C46950-13C9-4C6E-B6BF-4899EED7EBF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A100FB-F286-4D6C-AACF-4F877752F71C}" type="slidenum">
              <a:rPr lang="en-IN" smtClean="0"/>
              <a:t>‹N°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998111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51" userDrawn="1">
          <p15:clr>
            <a:srgbClr val="F26B43"/>
          </p15:clr>
        </p15:guide>
        <p15:guide id="2" pos="4248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1">
            <a:extLst>
              <a:ext uri="{FF2B5EF4-FFF2-40B4-BE49-F238E27FC236}">
                <a16:creationId xmlns:a16="http://schemas.microsoft.com/office/drawing/2014/main" id="{80F50245-9A6A-4028-BE65-58E3CEE0CF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A3E11836-8465-4959-BC6C-0821B1FAF7C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cap="all" baseline="0"/>
            </a:lvl1pPr>
          </a:lstStyle>
          <a:p>
            <a:fld id="{C83D6547-9E64-42C8-B538-32E7D8810A79}" type="datetime5">
              <a:rPr lang="en-IN" smtClean="0"/>
              <a:pPr/>
              <a:t>6-Oct-23</a:t>
            </a:fld>
            <a:endParaRPr lang="en-IN"/>
          </a:p>
        </p:txBody>
      </p:sp>
      <p:sp>
        <p:nvSpPr>
          <p:cNvPr id="10" name="Slide Image Placeholder 3">
            <a:extLst>
              <a:ext uri="{FF2B5EF4-FFF2-40B4-BE49-F238E27FC236}">
                <a16:creationId xmlns:a16="http://schemas.microsoft.com/office/drawing/2014/main" id="{F89BCA63-237C-4006-A542-2B4AA50A462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IN"/>
          </a:p>
        </p:txBody>
      </p:sp>
      <p:sp>
        <p:nvSpPr>
          <p:cNvPr id="11" name="Notes Placeholder 4">
            <a:extLst>
              <a:ext uri="{FF2B5EF4-FFF2-40B4-BE49-F238E27FC236}">
                <a16:creationId xmlns:a16="http://schemas.microsoft.com/office/drawing/2014/main" id="{1334636B-4C64-4A9F-ABA7-BD4BAA3B93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marL="171450" lvl="0" indent="-1714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dit Master text styles</a:t>
            </a:r>
          </a:p>
          <a:p>
            <a:pPr marL="450850" lvl="1" indent="-17145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719138" lvl="2" indent="-17145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87425" lvl="3" indent="-171450" defTabSz="1169988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1255713" lvl="4" indent="-1714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507C4148-2AC6-46A2-928D-13DDD2399FA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89C2BD38-7DF4-4C16-A2A6-72BBB585CE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1D1FC5-3B90-4EDF-9495-4DA2D69B7568}" type="slidenum">
              <a:rPr lang="en-IN" smtClean="0"/>
              <a:t>‹N°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66961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58" userDrawn="1">
          <p15:clr>
            <a:srgbClr val="F26B43"/>
          </p15:clr>
        </p15:guide>
        <p15:guide id="2" orient="horz" pos="51" userDrawn="1">
          <p15:clr>
            <a:srgbClr val="F26B43"/>
          </p15:clr>
        </p15:guide>
        <p15:guide id="3" pos="427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1D1FC5-3B90-4EDF-9495-4DA2D69B7568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56837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1D1FC5-3B90-4EDF-9495-4DA2D69B7568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15684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1D1FC5-3B90-4EDF-9495-4DA2D69B7568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50285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1D1FC5-3B90-4EDF-9495-4DA2D69B7568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83753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1D1FC5-3B90-4EDF-9495-4DA2D69B7568}" type="slidenum">
              <a:rPr lang="en-IN" smtClean="0"/>
              <a:t>2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9785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1D1FC5-3B90-4EDF-9495-4DA2D69B7568}" type="slidenum">
              <a:rPr lang="en-IN" smtClean="0"/>
              <a:t>2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75629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1D1FC5-3B90-4EDF-9495-4DA2D69B7568}" type="slidenum">
              <a:rPr lang="en-IN" smtClean="0"/>
              <a:t>2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6587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11.bin"/><Relationship Id="rId12" Type="http://schemas.openxmlformats.org/officeDocument/2006/relationships/oleObject" Target="../embeddings/oleObject15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Master" Target="../slideMasters/slideMaster1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15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4.xml"/><Relationship Id="rId9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oleObject" Target="../embeddings/oleObject10.bin"/><Relationship Id="rId3" Type="http://schemas.openxmlformats.org/officeDocument/2006/relationships/tags" Target="../tags/tag8.xml"/><Relationship Id="rId7" Type="http://schemas.openxmlformats.org/officeDocument/2006/relationships/image" Target="../media/image4.jpg"/><Relationship Id="rId12" Type="http://schemas.openxmlformats.org/officeDocument/2006/relationships/oleObject" Target="../embeddings/oleObject9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Master" Target="../slideMasters/slideMaster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10.xml"/><Relationship Id="rId10" Type="http://schemas.openxmlformats.org/officeDocument/2006/relationships/oleObject" Target="../embeddings/oleObject7.bin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13" Type="http://schemas.openxmlformats.org/officeDocument/2006/relationships/oleObject" Target="../embeddings/oleObject25.bin"/><Relationship Id="rId3" Type="http://schemas.openxmlformats.org/officeDocument/2006/relationships/tags" Target="../tags/tag23.xml"/><Relationship Id="rId7" Type="http://schemas.openxmlformats.org/officeDocument/2006/relationships/image" Target="../media/image4.jpg"/><Relationship Id="rId12" Type="http://schemas.openxmlformats.org/officeDocument/2006/relationships/oleObject" Target="../embeddings/oleObject24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5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26.bin"/><Relationship Id="rId12" Type="http://schemas.openxmlformats.org/officeDocument/2006/relationships/oleObject" Target="../embeddings/oleObject30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2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30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9.xml"/><Relationship Id="rId9" Type="http://schemas.openxmlformats.org/officeDocument/2006/relationships/oleObject" Target="../embeddings/oleObject27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Pulse/Photo_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BD047201-73A1-4321-8DDF-141EF9229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927350"/>
          </a:xfrm>
          <a:custGeom>
            <a:avLst/>
            <a:gdLst>
              <a:gd name="connsiteX0" fmla="*/ 0 w 12192000"/>
              <a:gd name="connsiteY0" fmla="*/ 0 h 2927350"/>
              <a:gd name="connsiteX1" fmla="*/ 12192000 w 12192000"/>
              <a:gd name="connsiteY1" fmla="*/ 0 h 2927350"/>
              <a:gd name="connsiteX2" fmla="*/ 12192000 w 12192000"/>
              <a:gd name="connsiteY2" fmla="*/ 2927350 h 2927350"/>
              <a:gd name="connsiteX3" fmla="*/ 5207034 w 12192000"/>
              <a:gd name="connsiteY3" fmla="*/ 2927350 h 2927350"/>
              <a:gd name="connsiteX4" fmla="*/ 5205492 w 12192000"/>
              <a:gd name="connsiteY4" fmla="*/ 2921483 h 2927350"/>
              <a:gd name="connsiteX5" fmla="*/ 4794801 w 12192000"/>
              <a:gd name="connsiteY5" fmla="*/ 2440718 h 2927350"/>
              <a:gd name="connsiteX6" fmla="*/ 3558421 w 12192000"/>
              <a:gd name="connsiteY6" fmla="*/ 2491179 h 2927350"/>
              <a:gd name="connsiteX7" fmla="*/ 2481369 w 12192000"/>
              <a:gd name="connsiteY7" fmla="*/ 2137948 h 2927350"/>
              <a:gd name="connsiteX8" fmla="*/ 1098408 w 12192000"/>
              <a:gd name="connsiteY8" fmla="*/ 2916949 h 2927350"/>
              <a:gd name="connsiteX9" fmla="*/ 1096940 w 12192000"/>
              <a:gd name="connsiteY9" fmla="*/ 2927350 h 2927350"/>
              <a:gd name="connsiteX10" fmla="*/ 0 w 12192000"/>
              <a:gd name="connsiteY10" fmla="*/ 2927350 h 2927350"/>
              <a:gd name="connsiteX0" fmla="*/ 0 w 12192000"/>
              <a:gd name="connsiteY0" fmla="*/ 0 h 2927350"/>
              <a:gd name="connsiteX1" fmla="*/ 12192000 w 12192000"/>
              <a:gd name="connsiteY1" fmla="*/ 0 h 2927350"/>
              <a:gd name="connsiteX2" fmla="*/ 12192000 w 12192000"/>
              <a:gd name="connsiteY2" fmla="*/ 2927350 h 2927350"/>
              <a:gd name="connsiteX3" fmla="*/ 5207034 w 12192000"/>
              <a:gd name="connsiteY3" fmla="*/ 2927350 h 2927350"/>
              <a:gd name="connsiteX4" fmla="*/ 5205492 w 12192000"/>
              <a:gd name="connsiteY4" fmla="*/ 2921483 h 2927350"/>
              <a:gd name="connsiteX5" fmla="*/ 4794801 w 12192000"/>
              <a:gd name="connsiteY5" fmla="*/ 2440718 h 2927350"/>
              <a:gd name="connsiteX6" fmla="*/ 3558421 w 12192000"/>
              <a:gd name="connsiteY6" fmla="*/ 2491179 h 2927350"/>
              <a:gd name="connsiteX7" fmla="*/ 2481369 w 12192000"/>
              <a:gd name="connsiteY7" fmla="*/ 2137948 h 2927350"/>
              <a:gd name="connsiteX8" fmla="*/ 1098408 w 12192000"/>
              <a:gd name="connsiteY8" fmla="*/ 2916949 h 2927350"/>
              <a:gd name="connsiteX9" fmla="*/ 1092178 w 12192000"/>
              <a:gd name="connsiteY9" fmla="*/ 2927350 h 2927350"/>
              <a:gd name="connsiteX10" fmla="*/ 0 w 12192000"/>
              <a:gd name="connsiteY10" fmla="*/ 2927350 h 2927350"/>
              <a:gd name="connsiteX11" fmla="*/ 0 w 12192000"/>
              <a:gd name="connsiteY11" fmla="*/ 0 h 2927350"/>
              <a:gd name="connsiteX0" fmla="*/ 0 w 12192000"/>
              <a:gd name="connsiteY0" fmla="*/ 0 h 2927350"/>
              <a:gd name="connsiteX1" fmla="*/ 12192000 w 12192000"/>
              <a:gd name="connsiteY1" fmla="*/ 0 h 2927350"/>
              <a:gd name="connsiteX2" fmla="*/ 12192000 w 12192000"/>
              <a:gd name="connsiteY2" fmla="*/ 2927350 h 2927350"/>
              <a:gd name="connsiteX3" fmla="*/ 5207034 w 12192000"/>
              <a:gd name="connsiteY3" fmla="*/ 2927350 h 2927350"/>
              <a:gd name="connsiteX4" fmla="*/ 5205492 w 12192000"/>
              <a:gd name="connsiteY4" fmla="*/ 2921483 h 2927350"/>
              <a:gd name="connsiteX5" fmla="*/ 4794801 w 12192000"/>
              <a:gd name="connsiteY5" fmla="*/ 2440718 h 2927350"/>
              <a:gd name="connsiteX6" fmla="*/ 3558421 w 12192000"/>
              <a:gd name="connsiteY6" fmla="*/ 2491179 h 2927350"/>
              <a:gd name="connsiteX7" fmla="*/ 2481369 w 12192000"/>
              <a:gd name="connsiteY7" fmla="*/ 2137948 h 2927350"/>
              <a:gd name="connsiteX8" fmla="*/ 1098408 w 12192000"/>
              <a:gd name="connsiteY8" fmla="*/ 2916949 h 2927350"/>
              <a:gd name="connsiteX9" fmla="*/ 1094559 w 12192000"/>
              <a:gd name="connsiteY9" fmla="*/ 2927350 h 2927350"/>
              <a:gd name="connsiteX10" fmla="*/ 0 w 12192000"/>
              <a:gd name="connsiteY10" fmla="*/ 2927350 h 2927350"/>
              <a:gd name="connsiteX11" fmla="*/ 0 w 12192000"/>
              <a:gd name="connsiteY11" fmla="*/ 0 h 292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2927350">
                <a:moveTo>
                  <a:pt x="0" y="0"/>
                </a:moveTo>
                <a:lnTo>
                  <a:pt x="12192000" y="0"/>
                </a:lnTo>
                <a:lnTo>
                  <a:pt x="12192000" y="2927350"/>
                </a:lnTo>
                <a:lnTo>
                  <a:pt x="5207034" y="2927350"/>
                </a:lnTo>
                <a:lnTo>
                  <a:pt x="5205492" y="2921483"/>
                </a:lnTo>
                <a:cubicBezTo>
                  <a:pt x="5139396" y="2733730"/>
                  <a:pt x="5017063" y="2549525"/>
                  <a:pt x="4794801" y="2440718"/>
                </a:cubicBezTo>
                <a:cubicBezTo>
                  <a:pt x="4425161" y="2257794"/>
                  <a:pt x="3905755" y="2409179"/>
                  <a:pt x="3558421" y="2491179"/>
                </a:cubicBezTo>
                <a:cubicBezTo>
                  <a:pt x="3204715" y="2573179"/>
                  <a:pt x="2694867" y="2238871"/>
                  <a:pt x="2481369" y="2137948"/>
                </a:cubicBezTo>
                <a:cubicBezTo>
                  <a:pt x="1837687" y="1838332"/>
                  <a:pt x="1225870" y="2286179"/>
                  <a:pt x="1098408" y="2916949"/>
                </a:cubicBezTo>
                <a:lnTo>
                  <a:pt x="1094559" y="2927350"/>
                </a:lnTo>
                <a:lnTo>
                  <a:pt x="0" y="2927350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4EBF4189-4941-4CB6-8FD3-D6748C7CD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1212" y="3132000"/>
            <a:ext cx="7845552" cy="1344042"/>
          </a:xfrm>
        </p:spPr>
        <p:txBody>
          <a:bodyPr lIns="0" anchor="ctr"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06EFD51-72CD-4178-BE76-B6C74464B07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671212" y="4608000"/>
            <a:ext cx="7845552" cy="429642"/>
          </a:xfr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(Author, Date and Location) edit here</a:t>
            </a:r>
          </a:p>
        </p:txBody>
      </p:sp>
    </p:spTree>
    <p:extLst>
      <p:ext uri="{BB962C8B-B14F-4D97-AF65-F5344CB8AC3E}">
        <p14:creationId xmlns:p14="http://schemas.microsoft.com/office/powerpoint/2010/main" val="2207031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with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90C214-254C-44EE-8305-7FF21C01881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F58DF4FA-DCBC-426B-8B3C-F843B138AD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80840A-A17D-4123-9DD3-4D6B227E8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E99A0C9-F623-40D9-90E9-CB8E7B9EBB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EE6589-C258-4CDF-9B3E-91B21C464CAA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FAE7010-394F-4A44-904B-9B6D58B4953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396AE23D-FE80-48D2-81CD-3031CE4786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BE51D9B-04A7-4A9F-9DCA-72BCE116C263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8D9A8DB-4666-4ED9-85BD-D9D542A0FC3F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95A1627-8480-4AF4-8569-2D41B4443B21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96355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with_Subtitle-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11599F85-BFE8-4107-874A-3FB050C32DB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04800" y="1409700"/>
            <a:ext cx="11582400" cy="4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Sub-Title size 14 bold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8BC8794-01EA-45A9-A853-3205E501B5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1E62B4-2CA2-4342-9C38-1FCD2DF15A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0" y="2024063"/>
            <a:ext cx="11582400" cy="399573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45DC30-DB2A-420A-88C5-ECCF9A96B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0240DB0-62BD-4B96-9359-0B11088D4E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9AF185C1-F5C4-4ACD-90F6-DDA8A8B2946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841416D-666E-4946-B062-BBD6E3D5DCC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2D70B42-2A0D-4AD1-B561-96432EF5BF5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D1CCEAD-6E30-4091-B66E-072660E71CD9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C362E38-BCC6-4358-9D69-81993BE6A617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9225511-70B9-47A3-8C32-62AF379BF897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966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orient="horz" pos="127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with_Subtitl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11599F85-BFE8-4107-874A-3FB050C32DB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04800" y="1409700"/>
            <a:ext cx="11582400" cy="64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 dirty="0"/>
              <a:t>Sub-Title </a:t>
            </a:r>
            <a:r>
              <a:rPr lang="en-US"/>
              <a:t>size 18 </a:t>
            </a:r>
            <a:r>
              <a:rPr lang="en-US" dirty="0"/>
              <a:t>bold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8BC8794-01EA-45A9-A853-3205E501B5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1E62B4-2CA2-4342-9C38-1FCD2DF15A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0" y="2205038"/>
            <a:ext cx="11582400" cy="381476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3FAB37-A98A-47CF-8D6F-775273214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A85F5A0-EA50-47F0-9E12-B3F1ADE477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C68DDE-071D-4ED9-AB87-3B4BA28A8B3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8DF1747-C596-4089-9CBC-80916E6153F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17F55B1-C28B-4ACA-B683-A617FF19A08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F2566E8-B106-47DC-8054-28CDFDF7B9A4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9E239D5-B14A-4003-9850-8655F6BC7D95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DA9D726-264A-48B3-8C2A-E4A5482EE3F2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3387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orient="horz" pos="138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with_Subtitle_B-grey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11599F85-BFE8-4107-874A-3FB050C32DB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04800" y="1409700"/>
            <a:ext cx="11582400" cy="64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 dirty="0"/>
              <a:t>Sub-Title size 18 bold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8BC8794-01EA-45A9-A853-3205E501B5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1E62B4-2CA2-4342-9C38-1FCD2DF15A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0" y="2205038"/>
            <a:ext cx="11582400" cy="381476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382DF6-3ADA-4442-B419-4F20486FD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FDA037B-7A70-4AB3-ADDA-1F8F3EFDEE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FD3377C-B2BE-4664-A5E4-435249BEA15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AAD22D7-E827-481D-9FFB-FB51FD874B5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344E98D-71D9-4DD0-BA6D-3FFA3E48533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522D775-CA0B-46E9-ADC2-5B353C72F977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58DE871-C528-4F9B-9F40-482349DCD95A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8FBBAA1-6CE9-4375-B7BB-9A14466DF5A1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55124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orient="horz" pos="138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_w_ image_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9" imgH="357" progId="TCLayout.ActiveDocument.1">
                  <p:embed/>
                </p:oleObj>
              </mc:Choice>
              <mc:Fallback>
                <p:oleObj name="think-cell Folie" r:id="rId7" imgW="359" imgH="357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2" hidden="1">
            <a:extLst>
              <a:ext uri="{FF2B5EF4-FFF2-40B4-BE49-F238E27FC236}">
                <a16:creationId xmlns:a16="http://schemas.microsoft.com/office/drawing/2014/main" id="{735F965C-9EA4-4A0A-A502-B95C076B8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59" imgH="357" progId="TCLayout.ActiveDocument.1">
                  <p:embed/>
                </p:oleObj>
              </mc:Choice>
              <mc:Fallback>
                <p:oleObj name="think-cell Folie" r:id="rId9" imgW="359" imgH="357" progId="TCLayout.ActiveDocument.1">
                  <p:embed/>
                  <p:pic>
                    <p:nvPicPr>
                      <p:cNvPr id="8" name="Objekt 2" hidden="1">
                        <a:extLst>
                          <a:ext uri="{FF2B5EF4-FFF2-40B4-BE49-F238E27FC236}">
                            <a16:creationId xmlns:a16="http://schemas.microsoft.com/office/drawing/2014/main" id="{735F965C-9EA4-4A0A-A502-B95C076B8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2" hidden="1">
            <a:extLst>
              <a:ext uri="{FF2B5EF4-FFF2-40B4-BE49-F238E27FC236}">
                <a16:creationId xmlns:a16="http://schemas.microsoft.com/office/drawing/2014/main" id="{AC34332F-3CAF-4E43-9B10-2F81AD1CEB7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59" imgH="357" progId="TCLayout.ActiveDocument.1">
                  <p:embed/>
                </p:oleObj>
              </mc:Choice>
              <mc:Fallback>
                <p:oleObj name="think-cell Folie" r:id="rId10" imgW="359" imgH="357" progId="TCLayout.ActiveDocument.1">
                  <p:embed/>
                  <p:pic>
                    <p:nvPicPr>
                      <p:cNvPr id="9" name="Objekt 2" hidden="1">
                        <a:extLst>
                          <a:ext uri="{FF2B5EF4-FFF2-40B4-BE49-F238E27FC236}">
                            <a16:creationId xmlns:a16="http://schemas.microsoft.com/office/drawing/2014/main" id="{AC34332F-3CAF-4E43-9B10-2F81AD1CEB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2" hidden="1">
            <a:extLst>
              <a:ext uri="{FF2B5EF4-FFF2-40B4-BE49-F238E27FC236}">
                <a16:creationId xmlns:a16="http://schemas.microsoft.com/office/drawing/2014/main" id="{CF58A5BD-4101-4469-A6A9-255BF7F7D04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59" imgH="357" progId="TCLayout.ActiveDocument.1">
                  <p:embed/>
                </p:oleObj>
              </mc:Choice>
              <mc:Fallback>
                <p:oleObj name="think-cell Folie" r:id="rId11" imgW="359" imgH="357" progId="TCLayout.ActiveDocument.1">
                  <p:embed/>
                  <p:pic>
                    <p:nvPicPr>
                      <p:cNvPr id="10" name="Objekt 2" hidden="1">
                        <a:extLst>
                          <a:ext uri="{FF2B5EF4-FFF2-40B4-BE49-F238E27FC236}">
                            <a16:creationId xmlns:a16="http://schemas.microsoft.com/office/drawing/2014/main" id="{CF58A5BD-4101-4469-A6A9-255BF7F7D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2" hidden="1">
            <a:extLst>
              <a:ext uri="{FF2B5EF4-FFF2-40B4-BE49-F238E27FC236}">
                <a16:creationId xmlns:a16="http://schemas.microsoft.com/office/drawing/2014/main" id="{2C250670-108F-43BF-8D76-895CF0D4271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59" imgH="357" progId="TCLayout.ActiveDocument.1">
                  <p:embed/>
                </p:oleObj>
              </mc:Choice>
              <mc:Fallback>
                <p:oleObj name="think-cell Folie" r:id="rId12" imgW="359" imgH="357" progId="TCLayout.ActiveDocument.1">
                  <p:embed/>
                  <p:pic>
                    <p:nvPicPr>
                      <p:cNvPr id="11" name="Objekt 2" hidden="1">
                        <a:extLst>
                          <a:ext uri="{FF2B5EF4-FFF2-40B4-BE49-F238E27FC236}">
                            <a16:creationId xmlns:a16="http://schemas.microsoft.com/office/drawing/2014/main" id="{2C250670-108F-43BF-8D76-895CF0D42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2">
            <a:extLst>
              <a:ext uri="{FF2B5EF4-FFF2-40B4-BE49-F238E27FC236}">
                <a16:creationId xmlns:a16="http://schemas.microsoft.com/office/drawing/2014/main" id="{43784172-0A98-417A-B686-DB998F7FBF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09701"/>
            <a:ext cx="5943599" cy="46101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A79B0AC5-9C7E-4A59-94A3-8BADE6C25E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81524BB-BF12-412D-81C6-055795625F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46813" y="1409700"/>
            <a:ext cx="5637600" cy="457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Add text</a:t>
            </a:r>
            <a:endParaRPr lang="en-IN" dirty="0"/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A1BB23F2-3068-4CB2-8BD8-45C27340F70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46813" y="1866900"/>
            <a:ext cx="5637600" cy="41529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33" name="Title 32">
            <a:extLst>
              <a:ext uri="{FF2B5EF4-FFF2-40B4-BE49-F238E27FC236}">
                <a16:creationId xmlns:a16="http://schemas.microsoft.com/office/drawing/2014/main" id="{BD650CFB-D60A-488A-9CF8-0341B43BD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C71DA4F9-7BB9-46EE-9196-339D6A6AC7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FD920D32-967C-4274-97EC-C184CE4D5B5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22167935-5085-4DFD-BCD6-3CC1EAB06BD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B19F5E03-6454-4D99-9C93-CB61AC04A79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0E0CE42-3DBD-475A-8F7F-310817CF2DE2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5895590-89E2-4600-A11E-3B450D94CF75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EE9071D-FADB-4EED-8CEE-6ED684DC52F2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14470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49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94879E5-0FFA-4C18-B6DD-23DF5B8B71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88498F-48D6-4191-BB14-6208FE39F91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0" y="1409700"/>
            <a:ext cx="56388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1A4A31A-11DC-4C50-A52E-76C3305FEBD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48400" y="1409700"/>
            <a:ext cx="56388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6EED8AD-F3B6-42C8-9C27-16BD86665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109883D-7EA6-4D7B-9D16-05CE327CB6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7F19C3B-EF09-41A1-9338-19821CAA986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8344A046-69CF-4CE7-BCA4-9884253BE5F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26EA708-A74E-471D-88BA-F415A06E2CF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CE1A423-796A-4E60-903F-04B0C3A3F0E0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5E79D99-C453-4A19-B87D-2262F1EDA628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D7C0B1B-221A-49CF-B34E-2F8A758B0F94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71223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44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s_with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B5E13C6E-EB60-42A6-9B4E-0490F7364D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B6D8F0-6D47-4477-ACC4-BE352F4563A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5638800" cy="46101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34975DA-C394-4ED7-8346-83B8924F080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48400" y="1409700"/>
            <a:ext cx="5638800" cy="46101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F6FF62-32FC-4CF4-B20F-A00C3E7037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C5B4F50-541D-4F35-8859-9A0E26CF2F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A181BE-8B42-4FF0-B639-8364A506FB8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F2CBD2A-5D01-42CF-B76B-4FD45B98008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B7DEE8D-E02B-4A83-8BBE-0918868A4CE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6D4C52-9D0A-4B8A-A838-D84992B25B31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58148A1-F6E8-452E-81CB-419D7C9C60C5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52841E6-AC55-4163-9CB0-96CF540917D5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49157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Horizontal_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F7039BF-9786-4247-884F-EE023DA8B9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D6B7C06-ED75-4B03-A51B-5309E7F224A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11582400" cy="2160000"/>
          </a:xfrm>
          <a:noFill/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3AABEDB0-57C6-4739-8481-01E458F99CE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04800" y="3860022"/>
            <a:ext cx="11582400" cy="2160000"/>
          </a:xfrm>
          <a:noFill/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3692E4-B199-4B51-95C6-A10D6CFA98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7311D0B-CF81-42A2-A8E4-5010CD5B45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E518C2-E49A-4279-ABE5-78B6C98C964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299B20-1AE5-4299-84B6-FC62AE4A939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A31684-700A-4655-86AE-D2952DD506C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1E11EDD-299B-4C83-ABF2-5C57F7F6D63B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BF40BC0-7764-45D8-9DF9-730C3256CDA3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5F5DF27-810A-4052-B468-E95B47AE2FE0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1612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251">
          <p15:clr>
            <a:srgbClr val="FBAE40"/>
          </p15:clr>
        </p15:guide>
        <p15:guide id="3" orient="horz" pos="243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Horizontal_Box_with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F7039BF-9786-4247-884F-EE023DA8B9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D6B7C06-ED75-4B03-A51B-5309E7F224A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115824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3AABEDB0-57C6-4739-8481-01E458F99CE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04800" y="3860022"/>
            <a:ext cx="115824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DAF08F-2BB0-46A1-88C3-E55264D6C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A356D55-E62B-4462-8FA9-E2D51C74F4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2971B6-41DE-4F3F-B6EA-1D5DA0E4771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94E7B7-035C-49FC-98B4-B45F74D4949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33567E-FFD2-4F08-8D51-7B6033B4DEA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6F9907C-7CBE-4259-A206-B0AA2CE7CE39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6C83A20-DD08-48CA-89AF-395AC7154207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6CCF17E-B96C-421B-B1F3-7C8C6EBD836F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5865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251">
          <p15:clr>
            <a:srgbClr val="FBAE40"/>
          </p15:clr>
        </p15:guide>
        <p15:guide id="3" orient="horz" pos="243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rizontal_Box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7EF014E1-174C-4EAA-88DF-5E1C519502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8AD551B-0B26-415B-AEB3-1A7A789A540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5637600" cy="2160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7863AFD7-48AC-4FD5-9E2E-6E638BCEDF3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48516" y="1409700"/>
            <a:ext cx="5637600" cy="2160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40F2A822-F4D7-4938-890C-2C3F9CDF138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0" y="3859667"/>
            <a:ext cx="5637600" cy="2160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7A616A18-77BE-4ECE-84FC-71D44D4FE0C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48513" y="3859667"/>
            <a:ext cx="5637600" cy="2160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43A831E-7985-423D-A679-1597340DB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EBDCC1C-870A-4AAF-84E1-97BA6796D9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0DD5B8D-FC26-4779-A5CF-D5321CEDB4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4CF1364-D277-4A01-A6D1-FB63EA8CB21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B17ACD2-3ABE-468D-9210-12EA4CB086B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107603A-20CD-41D8-A87E-8A2D111DAC2B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122CE5-1C28-4DA5-AC9B-0975AE8C1071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E2B4614-23D4-4E4D-BAA0-61791C7C9D13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3007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2251">
          <p15:clr>
            <a:srgbClr val="FBAE40"/>
          </p15:clr>
        </p15:guide>
        <p15:guide id="4" orient="horz" pos="243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Pulse/Photo_B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59" imgH="357" progId="TCLayout.ActiveDocument.1">
                  <p:embed/>
                </p:oleObj>
              </mc:Choice>
              <mc:Fallback>
                <p:oleObj name="think-cell Folie" r:id="rId8" imgW="359" imgH="357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2" hidden="1">
            <a:extLst>
              <a:ext uri="{FF2B5EF4-FFF2-40B4-BE49-F238E27FC236}">
                <a16:creationId xmlns:a16="http://schemas.microsoft.com/office/drawing/2014/main" id="{2576A9FA-490E-455F-8EC5-DC126D0F5F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59" imgH="357" progId="TCLayout.ActiveDocument.1">
                  <p:embed/>
                </p:oleObj>
              </mc:Choice>
              <mc:Fallback>
                <p:oleObj name="think-cell Folie" r:id="rId10" imgW="359" imgH="357" progId="TCLayout.ActiveDocument.1">
                  <p:embed/>
                  <p:pic>
                    <p:nvPicPr>
                      <p:cNvPr id="7" name="Objekt 2" hidden="1">
                        <a:extLst>
                          <a:ext uri="{FF2B5EF4-FFF2-40B4-BE49-F238E27FC236}">
                            <a16:creationId xmlns:a16="http://schemas.microsoft.com/office/drawing/2014/main" id="{2576A9FA-490E-455F-8EC5-DC126D0F5F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2" hidden="1">
            <a:extLst>
              <a:ext uri="{FF2B5EF4-FFF2-40B4-BE49-F238E27FC236}">
                <a16:creationId xmlns:a16="http://schemas.microsoft.com/office/drawing/2014/main" id="{839927A4-AD50-40CE-81D8-D768F883301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59" imgH="357" progId="TCLayout.ActiveDocument.1">
                  <p:embed/>
                </p:oleObj>
              </mc:Choice>
              <mc:Fallback>
                <p:oleObj name="think-cell Folie" r:id="rId11" imgW="359" imgH="357" progId="TCLayout.ActiveDocument.1">
                  <p:embed/>
                  <p:pic>
                    <p:nvPicPr>
                      <p:cNvPr id="8" name="Objekt 2" hidden="1">
                        <a:extLst>
                          <a:ext uri="{FF2B5EF4-FFF2-40B4-BE49-F238E27FC236}">
                            <a16:creationId xmlns:a16="http://schemas.microsoft.com/office/drawing/2014/main" id="{839927A4-AD50-40CE-81D8-D768F8833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2" hidden="1">
            <a:extLst>
              <a:ext uri="{FF2B5EF4-FFF2-40B4-BE49-F238E27FC236}">
                <a16:creationId xmlns:a16="http://schemas.microsoft.com/office/drawing/2014/main" id="{8D83A186-BE77-42E5-BA92-BD4543C623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59" imgH="357" progId="TCLayout.ActiveDocument.1">
                  <p:embed/>
                </p:oleObj>
              </mc:Choice>
              <mc:Fallback>
                <p:oleObj name="think-cell Folie" r:id="rId12" imgW="359" imgH="357" progId="TCLayout.ActiveDocument.1">
                  <p:embed/>
                  <p:pic>
                    <p:nvPicPr>
                      <p:cNvPr id="9" name="Objekt 2" hidden="1">
                        <a:extLst>
                          <a:ext uri="{FF2B5EF4-FFF2-40B4-BE49-F238E27FC236}">
                            <a16:creationId xmlns:a16="http://schemas.microsoft.com/office/drawing/2014/main" id="{8D83A186-BE77-42E5-BA92-BD4543C623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2" hidden="1">
            <a:extLst>
              <a:ext uri="{FF2B5EF4-FFF2-40B4-BE49-F238E27FC236}">
                <a16:creationId xmlns:a16="http://schemas.microsoft.com/office/drawing/2014/main" id="{875BE2D9-34A8-46A9-8EC2-AE8BE958FAFF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59" imgH="357" progId="TCLayout.ActiveDocument.1">
                  <p:embed/>
                </p:oleObj>
              </mc:Choice>
              <mc:Fallback>
                <p:oleObj name="think-cell Folie" r:id="rId13" imgW="359" imgH="357" progId="TCLayout.ActiveDocument.1">
                  <p:embed/>
                  <p:pic>
                    <p:nvPicPr>
                      <p:cNvPr id="10" name="Objekt 2" hidden="1">
                        <a:extLst>
                          <a:ext uri="{FF2B5EF4-FFF2-40B4-BE49-F238E27FC236}">
                            <a16:creationId xmlns:a16="http://schemas.microsoft.com/office/drawing/2014/main" id="{875BE2D9-34A8-46A9-8EC2-AE8BE958FA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30853975-6BC7-458B-BD57-C34F3C3D93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7983" y="3175"/>
            <a:ext cx="4452285" cy="6858382"/>
          </a:xfrm>
          <a:custGeom>
            <a:avLst/>
            <a:gdLst>
              <a:gd name="connsiteX0" fmla="*/ 0 w 4445000"/>
              <a:gd name="connsiteY0" fmla="*/ 0 h 6858000"/>
              <a:gd name="connsiteX1" fmla="*/ 4445000 w 4445000"/>
              <a:gd name="connsiteY1" fmla="*/ 0 h 6858000"/>
              <a:gd name="connsiteX2" fmla="*/ 4445000 w 4445000"/>
              <a:gd name="connsiteY2" fmla="*/ 1104781 h 6858000"/>
              <a:gd name="connsiteX3" fmla="*/ 4399591 w 4445000"/>
              <a:gd name="connsiteY3" fmla="*/ 1086630 h 6858000"/>
              <a:gd name="connsiteX4" fmla="*/ 3838752 w 4445000"/>
              <a:gd name="connsiteY4" fmla="*/ 1082684 h 6858000"/>
              <a:gd name="connsiteX5" fmla="*/ 3782134 w 4445000"/>
              <a:gd name="connsiteY5" fmla="*/ 1105266 h 6858000"/>
              <a:gd name="connsiteX6" fmla="*/ 3770421 w 4445000"/>
              <a:gd name="connsiteY6" fmla="*/ 1109388 h 6858000"/>
              <a:gd name="connsiteX7" fmla="*/ 3764033 w 4445000"/>
              <a:gd name="connsiteY7" fmla="*/ 1112485 h 6858000"/>
              <a:gd name="connsiteX8" fmla="*/ 3737986 w 4445000"/>
              <a:gd name="connsiteY8" fmla="*/ 1122874 h 6858000"/>
              <a:gd name="connsiteX9" fmla="*/ 3700081 w 4445000"/>
              <a:gd name="connsiteY9" fmla="*/ 1143495 h 6858000"/>
              <a:gd name="connsiteX10" fmla="*/ 3678844 w 4445000"/>
              <a:gd name="connsiteY10" fmla="*/ 1153793 h 6858000"/>
              <a:gd name="connsiteX11" fmla="*/ 3663814 w 4445000"/>
              <a:gd name="connsiteY11" fmla="*/ 1163226 h 6858000"/>
              <a:gd name="connsiteX12" fmla="*/ 3642552 w 4445000"/>
              <a:gd name="connsiteY12" fmla="*/ 1174793 h 6858000"/>
              <a:gd name="connsiteX13" fmla="*/ 3618784 w 4445000"/>
              <a:gd name="connsiteY13" fmla="*/ 1191487 h 6858000"/>
              <a:gd name="connsiteX14" fmla="*/ 3592277 w 4445000"/>
              <a:gd name="connsiteY14" fmla="*/ 1208122 h 6858000"/>
              <a:gd name="connsiteX15" fmla="*/ 3568204 w 4445000"/>
              <a:gd name="connsiteY15" fmla="*/ 1227011 h 6858000"/>
              <a:gd name="connsiteX16" fmla="*/ 3553106 w 4445000"/>
              <a:gd name="connsiteY16" fmla="*/ 1237615 h 6858000"/>
              <a:gd name="connsiteX17" fmla="*/ 3540125 w 4445000"/>
              <a:gd name="connsiteY17" fmla="*/ 1249043 h 6858000"/>
              <a:gd name="connsiteX18" fmla="*/ 3511261 w 4445000"/>
              <a:gd name="connsiteY18" fmla="*/ 1271691 h 6858000"/>
              <a:gd name="connsiteX19" fmla="*/ 3477675 w 4445000"/>
              <a:gd name="connsiteY19" fmla="*/ 1304023 h 6858000"/>
              <a:gd name="connsiteX20" fmla="*/ 3470303 w 4445000"/>
              <a:gd name="connsiteY20" fmla="*/ 1310513 h 6858000"/>
              <a:gd name="connsiteX21" fmla="*/ 3465465 w 4445000"/>
              <a:gd name="connsiteY21" fmla="*/ 1315777 h 6858000"/>
              <a:gd name="connsiteX22" fmla="*/ 3436336 w 4445000"/>
              <a:gd name="connsiteY22" fmla="*/ 1343818 h 6858000"/>
              <a:gd name="connsiteX23" fmla="*/ 3144980 w 4445000"/>
              <a:gd name="connsiteY23" fmla="*/ 1918038 h 6858000"/>
              <a:gd name="connsiteX24" fmla="*/ 3895627 w 4445000"/>
              <a:gd name="connsiteY24" fmla="*/ 4108658 h 6858000"/>
              <a:gd name="connsiteX25" fmla="*/ 4408936 w 4445000"/>
              <a:gd name="connsiteY25" fmla="*/ 4629443 h 6858000"/>
              <a:gd name="connsiteX26" fmla="*/ 4445000 w 4445000"/>
              <a:gd name="connsiteY26" fmla="*/ 4651642 h 6858000"/>
              <a:gd name="connsiteX27" fmla="*/ 4445000 w 4445000"/>
              <a:gd name="connsiteY27" fmla="*/ 6858000 h 6858000"/>
              <a:gd name="connsiteX28" fmla="*/ 0 w 4445000"/>
              <a:gd name="connsiteY28" fmla="*/ 6858000 h 6858000"/>
              <a:gd name="connsiteX0" fmla="*/ 0 w 4446588"/>
              <a:gd name="connsiteY0" fmla="*/ 0 h 6858000"/>
              <a:gd name="connsiteX1" fmla="*/ 4445000 w 4446588"/>
              <a:gd name="connsiteY1" fmla="*/ 0 h 6858000"/>
              <a:gd name="connsiteX2" fmla="*/ 4445000 w 4446588"/>
              <a:gd name="connsiteY2" fmla="*/ 1104781 h 6858000"/>
              <a:gd name="connsiteX3" fmla="*/ 4399591 w 4446588"/>
              <a:gd name="connsiteY3" fmla="*/ 1086630 h 6858000"/>
              <a:gd name="connsiteX4" fmla="*/ 3838752 w 4446588"/>
              <a:gd name="connsiteY4" fmla="*/ 1082684 h 6858000"/>
              <a:gd name="connsiteX5" fmla="*/ 3782134 w 4446588"/>
              <a:gd name="connsiteY5" fmla="*/ 1105266 h 6858000"/>
              <a:gd name="connsiteX6" fmla="*/ 3770421 w 4446588"/>
              <a:gd name="connsiteY6" fmla="*/ 1109388 h 6858000"/>
              <a:gd name="connsiteX7" fmla="*/ 3764033 w 4446588"/>
              <a:gd name="connsiteY7" fmla="*/ 1112485 h 6858000"/>
              <a:gd name="connsiteX8" fmla="*/ 3737986 w 4446588"/>
              <a:gd name="connsiteY8" fmla="*/ 1122874 h 6858000"/>
              <a:gd name="connsiteX9" fmla="*/ 3700081 w 4446588"/>
              <a:gd name="connsiteY9" fmla="*/ 1143495 h 6858000"/>
              <a:gd name="connsiteX10" fmla="*/ 3678844 w 4446588"/>
              <a:gd name="connsiteY10" fmla="*/ 1153793 h 6858000"/>
              <a:gd name="connsiteX11" fmla="*/ 3663814 w 4446588"/>
              <a:gd name="connsiteY11" fmla="*/ 1163226 h 6858000"/>
              <a:gd name="connsiteX12" fmla="*/ 3642552 w 4446588"/>
              <a:gd name="connsiteY12" fmla="*/ 1174793 h 6858000"/>
              <a:gd name="connsiteX13" fmla="*/ 3618784 w 4446588"/>
              <a:gd name="connsiteY13" fmla="*/ 1191487 h 6858000"/>
              <a:gd name="connsiteX14" fmla="*/ 3592277 w 4446588"/>
              <a:gd name="connsiteY14" fmla="*/ 1208122 h 6858000"/>
              <a:gd name="connsiteX15" fmla="*/ 3568204 w 4446588"/>
              <a:gd name="connsiteY15" fmla="*/ 1227011 h 6858000"/>
              <a:gd name="connsiteX16" fmla="*/ 3553106 w 4446588"/>
              <a:gd name="connsiteY16" fmla="*/ 1237615 h 6858000"/>
              <a:gd name="connsiteX17" fmla="*/ 3540125 w 4446588"/>
              <a:gd name="connsiteY17" fmla="*/ 1249043 h 6858000"/>
              <a:gd name="connsiteX18" fmla="*/ 3511261 w 4446588"/>
              <a:gd name="connsiteY18" fmla="*/ 1271691 h 6858000"/>
              <a:gd name="connsiteX19" fmla="*/ 3477675 w 4446588"/>
              <a:gd name="connsiteY19" fmla="*/ 1304023 h 6858000"/>
              <a:gd name="connsiteX20" fmla="*/ 3470303 w 4446588"/>
              <a:gd name="connsiteY20" fmla="*/ 1310513 h 6858000"/>
              <a:gd name="connsiteX21" fmla="*/ 3465465 w 4446588"/>
              <a:gd name="connsiteY21" fmla="*/ 1315777 h 6858000"/>
              <a:gd name="connsiteX22" fmla="*/ 3436336 w 4446588"/>
              <a:gd name="connsiteY22" fmla="*/ 1343818 h 6858000"/>
              <a:gd name="connsiteX23" fmla="*/ 3144980 w 4446588"/>
              <a:gd name="connsiteY23" fmla="*/ 1918038 h 6858000"/>
              <a:gd name="connsiteX24" fmla="*/ 3895627 w 4446588"/>
              <a:gd name="connsiteY24" fmla="*/ 4108658 h 6858000"/>
              <a:gd name="connsiteX25" fmla="*/ 4408936 w 4446588"/>
              <a:gd name="connsiteY25" fmla="*/ 4629443 h 6858000"/>
              <a:gd name="connsiteX26" fmla="*/ 4445000 w 4446588"/>
              <a:gd name="connsiteY26" fmla="*/ 4651642 h 6858000"/>
              <a:gd name="connsiteX27" fmla="*/ 4446588 w 4446588"/>
              <a:gd name="connsiteY27" fmla="*/ 6792445 h 6858000"/>
              <a:gd name="connsiteX28" fmla="*/ 4445000 w 4446588"/>
              <a:gd name="connsiteY28" fmla="*/ 6858000 h 6858000"/>
              <a:gd name="connsiteX29" fmla="*/ 0 w 4446588"/>
              <a:gd name="connsiteY29" fmla="*/ 6858000 h 6858000"/>
              <a:gd name="connsiteX30" fmla="*/ 0 w 4446588"/>
              <a:gd name="connsiteY30" fmla="*/ 0 h 6858000"/>
              <a:gd name="connsiteX0" fmla="*/ 0 w 4454547"/>
              <a:gd name="connsiteY0" fmla="*/ 0 h 6862768"/>
              <a:gd name="connsiteX1" fmla="*/ 4445000 w 4454547"/>
              <a:gd name="connsiteY1" fmla="*/ 0 h 6862768"/>
              <a:gd name="connsiteX2" fmla="*/ 4445000 w 4454547"/>
              <a:gd name="connsiteY2" fmla="*/ 1104781 h 6862768"/>
              <a:gd name="connsiteX3" fmla="*/ 4399591 w 4454547"/>
              <a:gd name="connsiteY3" fmla="*/ 1086630 h 6862768"/>
              <a:gd name="connsiteX4" fmla="*/ 3838752 w 4454547"/>
              <a:gd name="connsiteY4" fmla="*/ 1082684 h 6862768"/>
              <a:gd name="connsiteX5" fmla="*/ 3782134 w 4454547"/>
              <a:gd name="connsiteY5" fmla="*/ 1105266 h 6862768"/>
              <a:gd name="connsiteX6" fmla="*/ 3770421 w 4454547"/>
              <a:gd name="connsiteY6" fmla="*/ 1109388 h 6862768"/>
              <a:gd name="connsiteX7" fmla="*/ 3764033 w 4454547"/>
              <a:gd name="connsiteY7" fmla="*/ 1112485 h 6862768"/>
              <a:gd name="connsiteX8" fmla="*/ 3737986 w 4454547"/>
              <a:gd name="connsiteY8" fmla="*/ 1122874 h 6862768"/>
              <a:gd name="connsiteX9" fmla="*/ 3700081 w 4454547"/>
              <a:gd name="connsiteY9" fmla="*/ 1143495 h 6862768"/>
              <a:gd name="connsiteX10" fmla="*/ 3678844 w 4454547"/>
              <a:gd name="connsiteY10" fmla="*/ 1153793 h 6862768"/>
              <a:gd name="connsiteX11" fmla="*/ 3663814 w 4454547"/>
              <a:gd name="connsiteY11" fmla="*/ 1163226 h 6862768"/>
              <a:gd name="connsiteX12" fmla="*/ 3642552 w 4454547"/>
              <a:gd name="connsiteY12" fmla="*/ 1174793 h 6862768"/>
              <a:gd name="connsiteX13" fmla="*/ 3618784 w 4454547"/>
              <a:gd name="connsiteY13" fmla="*/ 1191487 h 6862768"/>
              <a:gd name="connsiteX14" fmla="*/ 3592277 w 4454547"/>
              <a:gd name="connsiteY14" fmla="*/ 1208122 h 6862768"/>
              <a:gd name="connsiteX15" fmla="*/ 3568204 w 4454547"/>
              <a:gd name="connsiteY15" fmla="*/ 1227011 h 6862768"/>
              <a:gd name="connsiteX16" fmla="*/ 3553106 w 4454547"/>
              <a:gd name="connsiteY16" fmla="*/ 1237615 h 6862768"/>
              <a:gd name="connsiteX17" fmla="*/ 3540125 w 4454547"/>
              <a:gd name="connsiteY17" fmla="*/ 1249043 h 6862768"/>
              <a:gd name="connsiteX18" fmla="*/ 3511261 w 4454547"/>
              <a:gd name="connsiteY18" fmla="*/ 1271691 h 6862768"/>
              <a:gd name="connsiteX19" fmla="*/ 3477675 w 4454547"/>
              <a:gd name="connsiteY19" fmla="*/ 1304023 h 6862768"/>
              <a:gd name="connsiteX20" fmla="*/ 3470303 w 4454547"/>
              <a:gd name="connsiteY20" fmla="*/ 1310513 h 6862768"/>
              <a:gd name="connsiteX21" fmla="*/ 3465465 w 4454547"/>
              <a:gd name="connsiteY21" fmla="*/ 1315777 h 6862768"/>
              <a:gd name="connsiteX22" fmla="*/ 3436336 w 4454547"/>
              <a:gd name="connsiteY22" fmla="*/ 1343818 h 6862768"/>
              <a:gd name="connsiteX23" fmla="*/ 3144980 w 4454547"/>
              <a:gd name="connsiteY23" fmla="*/ 1918038 h 6862768"/>
              <a:gd name="connsiteX24" fmla="*/ 3895627 w 4454547"/>
              <a:gd name="connsiteY24" fmla="*/ 4108658 h 6862768"/>
              <a:gd name="connsiteX25" fmla="*/ 4408936 w 4454547"/>
              <a:gd name="connsiteY25" fmla="*/ 4629443 h 6862768"/>
              <a:gd name="connsiteX26" fmla="*/ 4445000 w 4454547"/>
              <a:gd name="connsiteY26" fmla="*/ 4651642 h 6862768"/>
              <a:gd name="connsiteX27" fmla="*/ 4446588 w 4454547"/>
              <a:gd name="connsiteY27" fmla="*/ 6792445 h 6862768"/>
              <a:gd name="connsiteX28" fmla="*/ 4454525 w 4454547"/>
              <a:gd name="connsiteY28" fmla="*/ 6862768 h 6862768"/>
              <a:gd name="connsiteX29" fmla="*/ 0 w 4454547"/>
              <a:gd name="connsiteY29" fmla="*/ 6858000 h 6862768"/>
              <a:gd name="connsiteX30" fmla="*/ 0 w 4454547"/>
              <a:gd name="connsiteY30" fmla="*/ 0 h 6862768"/>
              <a:gd name="connsiteX0" fmla="*/ 1588 w 4456135"/>
              <a:gd name="connsiteY0" fmla="*/ 0 h 6862768"/>
              <a:gd name="connsiteX1" fmla="*/ 4446588 w 4456135"/>
              <a:gd name="connsiteY1" fmla="*/ 0 h 6862768"/>
              <a:gd name="connsiteX2" fmla="*/ 4446588 w 4456135"/>
              <a:gd name="connsiteY2" fmla="*/ 1104781 h 6862768"/>
              <a:gd name="connsiteX3" fmla="*/ 4401179 w 4456135"/>
              <a:gd name="connsiteY3" fmla="*/ 1086630 h 6862768"/>
              <a:gd name="connsiteX4" fmla="*/ 3840340 w 4456135"/>
              <a:gd name="connsiteY4" fmla="*/ 1082684 h 6862768"/>
              <a:gd name="connsiteX5" fmla="*/ 3783722 w 4456135"/>
              <a:gd name="connsiteY5" fmla="*/ 1105266 h 6862768"/>
              <a:gd name="connsiteX6" fmla="*/ 3772009 w 4456135"/>
              <a:gd name="connsiteY6" fmla="*/ 1109388 h 6862768"/>
              <a:gd name="connsiteX7" fmla="*/ 3765621 w 4456135"/>
              <a:gd name="connsiteY7" fmla="*/ 1112485 h 6862768"/>
              <a:gd name="connsiteX8" fmla="*/ 3739574 w 4456135"/>
              <a:gd name="connsiteY8" fmla="*/ 1122874 h 6862768"/>
              <a:gd name="connsiteX9" fmla="*/ 3701669 w 4456135"/>
              <a:gd name="connsiteY9" fmla="*/ 1143495 h 6862768"/>
              <a:gd name="connsiteX10" fmla="*/ 3680432 w 4456135"/>
              <a:gd name="connsiteY10" fmla="*/ 1153793 h 6862768"/>
              <a:gd name="connsiteX11" fmla="*/ 3665402 w 4456135"/>
              <a:gd name="connsiteY11" fmla="*/ 1163226 h 6862768"/>
              <a:gd name="connsiteX12" fmla="*/ 3644140 w 4456135"/>
              <a:gd name="connsiteY12" fmla="*/ 1174793 h 6862768"/>
              <a:gd name="connsiteX13" fmla="*/ 3620372 w 4456135"/>
              <a:gd name="connsiteY13" fmla="*/ 1191487 h 6862768"/>
              <a:gd name="connsiteX14" fmla="*/ 3593865 w 4456135"/>
              <a:gd name="connsiteY14" fmla="*/ 1208122 h 6862768"/>
              <a:gd name="connsiteX15" fmla="*/ 3569792 w 4456135"/>
              <a:gd name="connsiteY15" fmla="*/ 1227011 h 6862768"/>
              <a:gd name="connsiteX16" fmla="*/ 3554694 w 4456135"/>
              <a:gd name="connsiteY16" fmla="*/ 1237615 h 6862768"/>
              <a:gd name="connsiteX17" fmla="*/ 3541713 w 4456135"/>
              <a:gd name="connsiteY17" fmla="*/ 1249043 h 6862768"/>
              <a:gd name="connsiteX18" fmla="*/ 3512849 w 4456135"/>
              <a:gd name="connsiteY18" fmla="*/ 1271691 h 6862768"/>
              <a:gd name="connsiteX19" fmla="*/ 3479263 w 4456135"/>
              <a:gd name="connsiteY19" fmla="*/ 1304023 h 6862768"/>
              <a:gd name="connsiteX20" fmla="*/ 3471891 w 4456135"/>
              <a:gd name="connsiteY20" fmla="*/ 1310513 h 6862768"/>
              <a:gd name="connsiteX21" fmla="*/ 3467053 w 4456135"/>
              <a:gd name="connsiteY21" fmla="*/ 1315777 h 6862768"/>
              <a:gd name="connsiteX22" fmla="*/ 3437924 w 4456135"/>
              <a:gd name="connsiteY22" fmla="*/ 1343818 h 6862768"/>
              <a:gd name="connsiteX23" fmla="*/ 3146568 w 4456135"/>
              <a:gd name="connsiteY23" fmla="*/ 1918038 h 6862768"/>
              <a:gd name="connsiteX24" fmla="*/ 3897215 w 4456135"/>
              <a:gd name="connsiteY24" fmla="*/ 4108658 h 6862768"/>
              <a:gd name="connsiteX25" fmla="*/ 4410524 w 4456135"/>
              <a:gd name="connsiteY25" fmla="*/ 4629443 h 6862768"/>
              <a:gd name="connsiteX26" fmla="*/ 4446588 w 4456135"/>
              <a:gd name="connsiteY26" fmla="*/ 4651642 h 6862768"/>
              <a:gd name="connsiteX27" fmla="*/ 4448176 w 4456135"/>
              <a:gd name="connsiteY27" fmla="*/ 6792445 h 6862768"/>
              <a:gd name="connsiteX28" fmla="*/ 4456113 w 4456135"/>
              <a:gd name="connsiteY28" fmla="*/ 6862768 h 6862768"/>
              <a:gd name="connsiteX29" fmla="*/ 1588 w 4456135"/>
              <a:gd name="connsiteY29" fmla="*/ 6858000 h 6862768"/>
              <a:gd name="connsiteX30" fmla="*/ 0 w 4456135"/>
              <a:gd name="connsiteY30" fmla="*/ 6749524 h 6862768"/>
              <a:gd name="connsiteX31" fmla="*/ 1588 w 4456135"/>
              <a:gd name="connsiteY31" fmla="*/ 0 h 6862768"/>
              <a:gd name="connsiteX0" fmla="*/ 4807 w 4459354"/>
              <a:gd name="connsiteY0" fmla="*/ 0 h 6867538"/>
              <a:gd name="connsiteX1" fmla="*/ 4449807 w 4459354"/>
              <a:gd name="connsiteY1" fmla="*/ 0 h 6867538"/>
              <a:gd name="connsiteX2" fmla="*/ 4449807 w 4459354"/>
              <a:gd name="connsiteY2" fmla="*/ 1104781 h 6867538"/>
              <a:gd name="connsiteX3" fmla="*/ 4404398 w 4459354"/>
              <a:gd name="connsiteY3" fmla="*/ 1086630 h 6867538"/>
              <a:gd name="connsiteX4" fmla="*/ 3843559 w 4459354"/>
              <a:gd name="connsiteY4" fmla="*/ 1082684 h 6867538"/>
              <a:gd name="connsiteX5" fmla="*/ 3786941 w 4459354"/>
              <a:gd name="connsiteY5" fmla="*/ 1105266 h 6867538"/>
              <a:gd name="connsiteX6" fmla="*/ 3775228 w 4459354"/>
              <a:gd name="connsiteY6" fmla="*/ 1109388 h 6867538"/>
              <a:gd name="connsiteX7" fmla="*/ 3768840 w 4459354"/>
              <a:gd name="connsiteY7" fmla="*/ 1112485 h 6867538"/>
              <a:gd name="connsiteX8" fmla="*/ 3742793 w 4459354"/>
              <a:gd name="connsiteY8" fmla="*/ 1122874 h 6867538"/>
              <a:gd name="connsiteX9" fmla="*/ 3704888 w 4459354"/>
              <a:gd name="connsiteY9" fmla="*/ 1143495 h 6867538"/>
              <a:gd name="connsiteX10" fmla="*/ 3683651 w 4459354"/>
              <a:gd name="connsiteY10" fmla="*/ 1153793 h 6867538"/>
              <a:gd name="connsiteX11" fmla="*/ 3668621 w 4459354"/>
              <a:gd name="connsiteY11" fmla="*/ 1163226 h 6867538"/>
              <a:gd name="connsiteX12" fmla="*/ 3647359 w 4459354"/>
              <a:gd name="connsiteY12" fmla="*/ 1174793 h 6867538"/>
              <a:gd name="connsiteX13" fmla="*/ 3623591 w 4459354"/>
              <a:gd name="connsiteY13" fmla="*/ 1191487 h 6867538"/>
              <a:gd name="connsiteX14" fmla="*/ 3597084 w 4459354"/>
              <a:gd name="connsiteY14" fmla="*/ 1208122 h 6867538"/>
              <a:gd name="connsiteX15" fmla="*/ 3573011 w 4459354"/>
              <a:gd name="connsiteY15" fmla="*/ 1227011 h 6867538"/>
              <a:gd name="connsiteX16" fmla="*/ 3557913 w 4459354"/>
              <a:gd name="connsiteY16" fmla="*/ 1237615 h 6867538"/>
              <a:gd name="connsiteX17" fmla="*/ 3544932 w 4459354"/>
              <a:gd name="connsiteY17" fmla="*/ 1249043 h 6867538"/>
              <a:gd name="connsiteX18" fmla="*/ 3516068 w 4459354"/>
              <a:gd name="connsiteY18" fmla="*/ 1271691 h 6867538"/>
              <a:gd name="connsiteX19" fmla="*/ 3482482 w 4459354"/>
              <a:gd name="connsiteY19" fmla="*/ 1304023 h 6867538"/>
              <a:gd name="connsiteX20" fmla="*/ 3475110 w 4459354"/>
              <a:gd name="connsiteY20" fmla="*/ 1310513 h 6867538"/>
              <a:gd name="connsiteX21" fmla="*/ 3470272 w 4459354"/>
              <a:gd name="connsiteY21" fmla="*/ 1315777 h 6867538"/>
              <a:gd name="connsiteX22" fmla="*/ 3441143 w 4459354"/>
              <a:gd name="connsiteY22" fmla="*/ 1343818 h 6867538"/>
              <a:gd name="connsiteX23" fmla="*/ 3149787 w 4459354"/>
              <a:gd name="connsiteY23" fmla="*/ 1918038 h 6867538"/>
              <a:gd name="connsiteX24" fmla="*/ 3900434 w 4459354"/>
              <a:gd name="connsiteY24" fmla="*/ 4108658 h 6867538"/>
              <a:gd name="connsiteX25" fmla="*/ 4413743 w 4459354"/>
              <a:gd name="connsiteY25" fmla="*/ 4629443 h 6867538"/>
              <a:gd name="connsiteX26" fmla="*/ 4449807 w 4459354"/>
              <a:gd name="connsiteY26" fmla="*/ 4651642 h 6867538"/>
              <a:gd name="connsiteX27" fmla="*/ 4451395 w 4459354"/>
              <a:gd name="connsiteY27" fmla="*/ 6792445 h 6867538"/>
              <a:gd name="connsiteX28" fmla="*/ 4459332 w 4459354"/>
              <a:gd name="connsiteY28" fmla="*/ 6862768 h 6867538"/>
              <a:gd name="connsiteX29" fmla="*/ 45 w 4459354"/>
              <a:gd name="connsiteY29" fmla="*/ 6867538 h 6867538"/>
              <a:gd name="connsiteX30" fmla="*/ 3219 w 4459354"/>
              <a:gd name="connsiteY30" fmla="*/ 6749524 h 6867538"/>
              <a:gd name="connsiteX31" fmla="*/ 4807 w 4459354"/>
              <a:gd name="connsiteY31" fmla="*/ 0 h 6867538"/>
              <a:gd name="connsiteX0" fmla="*/ 4807 w 4454615"/>
              <a:gd name="connsiteY0" fmla="*/ 0 h 6867538"/>
              <a:gd name="connsiteX1" fmla="*/ 4449807 w 4454615"/>
              <a:gd name="connsiteY1" fmla="*/ 0 h 6867538"/>
              <a:gd name="connsiteX2" fmla="*/ 4449807 w 4454615"/>
              <a:gd name="connsiteY2" fmla="*/ 1104781 h 6867538"/>
              <a:gd name="connsiteX3" fmla="*/ 4404398 w 4454615"/>
              <a:gd name="connsiteY3" fmla="*/ 1086630 h 6867538"/>
              <a:gd name="connsiteX4" fmla="*/ 3843559 w 4454615"/>
              <a:gd name="connsiteY4" fmla="*/ 1082684 h 6867538"/>
              <a:gd name="connsiteX5" fmla="*/ 3786941 w 4454615"/>
              <a:gd name="connsiteY5" fmla="*/ 1105266 h 6867538"/>
              <a:gd name="connsiteX6" fmla="*/ 3775228 w 4454615"/>
              <a:gd name="connsiteY6" fmla="*/ 1109388 h 6867538"/>
              <a:gd name="connsiteX7" fmla="*/ 3768840 w 4454615"/>
              <a:gd name="connsiteY7" fmla="*/ 1112485 h 6867538"/>
              <a:gd name="connsiteX8" fmla="*/ 3742793 w 4454615"/>
              <a:gd name="connsiteY8" fmla="*/ 1122874 h 6867538"/>
              <a:gd name="connsiteX9" fmla="*/ 3704888 w 4454615"/>
              <a:gd name="connsiteY9" fmla="*/ 1143495 h 6867538"/>
              <a:gd name="connsiteX10" fmla="*/ 3683651 w 4454615"/>
              <a:gd name="connsiteY10" fmla="*/ 1153793 h 6867538"/>
              <a:gd name="connsiteX11" fmla="*/ 3668621 w 4454615"/>
              <a:gd name="connsiteY11" fmla="*/ 1163226 h 6867538"/>
              <a:gd name="connsiteX12" fmla="*/ 3647359 w 4454615"/>
              <a:gd name="connsiteY12" fmla="*/ 1174793 h 6867538"/>
              <a:gd name="connsiteX13" fmla="*/ 3623591 w 4454615"/>
              <a:gd name="connsiteY13" fmla="*/ 1191487 h 6867538"/>
              <a:gd name="connsiteX14" fmla="*/ 3597084 w 4454615"/>
              <a:gd name="connsiteY14" fmla="*/ 1208122 h 6867538"/>
              <a:gd name="connsiteX15" fmla="*/ 3573011 w 4454615"/>
              <a:gd name="connsiteY15" fmla="*/ 1227011 h 6867538"/>
              <a:gd name="connsiteX16" fmla="*/ 3557913 w 4454615"/>
              <a:gd name="connsiteY16" fmla="*/ 1237615 h 6867538"/>
              <a:gd name="connsiteX17" fmla="*/ 3544932 w 4454615"/>
              <a:gd name="connsiteY17" fmla="*/ 1249043 h 6867538"/>
              <a:gd name="connsiteX18" fmla="*/ 3516068 w 4454615"/>
              <a:gd name="connsiteY18" fmla="*/ 1271691 h 6867538"/>
              <a:gd name="connsiteX19" fmla="*/ 3482482 w 4454615"/>
              <a:gd name="connsiteY19" fmla="*/ 1304023 h 6867538"/>
              <a:gd name="connsiteX20" fmla="*/ 3475110 w 4454615"/>
              <a:gd name="connsiteY20" fmla="*/ 1310513 h 6867538"/>
              <a:gd name="connsiteX21" fmla="*/ 3470272 w 4454615"/>
              <a:gd name="connsiteY21" fmla="*/ 1315777 h 6867538"/>
              <a:gd name="connsiteX22" fmla="*/ 3441143 w 4454615"/>
              <a:gd name="connsiteY22" fmla="*/ 1343818 h 6867538"/>
              <a:gd name="connsiteX23" fmla="*/ 3149787 w 4454615"/>
              <a:gd name="connsiteY23" fmla="*/ 1918038 h 6867538"/>
              <a:gd name="connsiteX24" fmla="*/ 3900434 w 4454615"/>
              <a:gd name="connsiteY24" fmla="*/ 4108658 h 6867538"/>
              <a:gd name="connsiteX25" fmla="*/ 4413743 w 4454615"/>
              <a:gd name="connsiteY25" fmla="*/ 4629443 h 6867538"/>
              <a:gd name="connsiteX26" fmla="*/ 4449807 w 4454615"/>
              <a:gd name="connsiteY26" fmla="*/ 4651642 h 6867538"/>
              <a:gd name="connsiteX27" fmla="*/ 4451395 w 4454615"/>
              <a:gd name="connsiteY27" fmla="*/ 6792445 h 6867538"/>
              <a:gd name="connsiteX28" fmla="*/ 4454570 w 4454615"/>
              <a:gd name="connsiteY28" fmla="*/ 6862769 h 6867538"/>
              <a:gd name="connsiteX29" fmla="*/ 45 w 4454615"/>
              <a:gd name="connsiteY29" fmla="*/ 6867538 h 6867538"/>
              <a:gd name="connsiteX30" fmla="*/ 3219 w 4454615"/>
              <a:gd name="connsiteY30" fmla="*/ 6749524 h 6867538"/>
              <a:gd name="connsiteX31" fmla="*/ 4807 w 4454615"/>
              <a:gd name="connsiteY31" fmla="*/ 0 h 6867538"/>
              <a:gd name="connsiteX0" fmla="*/ 4807 w 4451395"/>
              <a:gd name="connsiteY0" fmla="*/ 0 h 6867538"/>
              <a:gd name="connsiteX1" fmla="*/ 4449807 w 4451395"/>
              <a:gd name="connsiteY1" fmla="*/ 0 h 6867538"/>
              <a:gd name="connsiteX2" fmla="*/ 4449807 w 4451395"/>
              <a:gd name="connsiteY2" fmla="*/ 1104781 h 6867538"/>
              <a:gd name="connsiteX3" fmla="*/ 4404398 w 4451395"/>
              <a:gd name="connsiteY3" fmla="*/ 1086630 h 6867538"/>
              <a:gd name="connsiteX4" fmla="*/ 3843559 w 4451395"/>
              <a:gd name="connsiteY4" fmla="*/ 1082684 h 6867538"/>
              <a:gd name="connsiteX5" fmla="*/ 3786941 w 4451395"/>
              <a:gd name="connsiteY5" fmla="*/ 1105266 h 6867538"/>
              <a:gd name="connsiteX6" fmla="*/ 3775228 w 4451395"/>
              <a:gd name="connsiteY6" fmla="*/ 1109388 h 6867538"/>
              <a:gd name="connsiteX7" fmla="*/ 3768840 w 4451395"/>
              <a:gd name="connsiteY7" fmla="*/ 1112485 h 6867538"/>
              <a:gd name="connsiteX8" fmla="*/ 3742793 w 4451395"/>
              <a:gd name="connsiteY8" fmla="*/ 1122874 h 6867538"/>
              <a:gd name="connsiteX9" fmla="*/ 3704888 w 4451395"/>
              <a:gd name="connsiteY9" fmla="*/ 1143495 h 6867538"/>
              <a:gd name="connsiteX10" fmla="*/ 3683651 w 4451395"/>
              <a:gd name="connsiteY10" fmla="*/ 1153793 h 6867538"/>
              <a:gd name="connsiteX11" fmla="*/ 3668621 w 4451395"/>
              <a:gd name="connsiteY11" fmla="*/ 1163226 h 6867538"/>
              <a:gd name="connsiteX12" fmla="*/ 3647359 w 4451395"/>
              <a:gd name="connsiteY12" fmla="*/ 1174793 h 6867538"/>
              <a:gd name="connsiteX13" fmla="*/ 3623591 w 4451395"/>
              <a:gd name="connsiteY13" fmla="*/ 1191487 h 6867538"/>
              <a:gd name="connsiteX14" fmla="*/ 3597084 w 4451395"/>
              <a:gd name="connsiteY14" fmla="*/ 1208122 h 6867538"/>
              <a:gd name="connsiteX15" fmla="*/ 3573011 w 4451395"/>
              <a:gd name="connsiteY15" fmla="*/ 1227011 h 6867538"/>
              <a:gd name="connsiteX16" fmla="*/ 3557913 w 4451395"/>
              <a:gd name="connsiteY16" fmla="*/ 1237615 h 6867538"/>
              <a:gd name="connsiteX17" fmla="*/ 3544932 w 4451395"/>
              <a:gd name="connsiteY17" fmla="*/ 1249043 h 6867538"/>
              <a:gd name="connsiteX18" fmla="*/ 3516068 w 4451395"/>
              <a:gd name="connsiteY18" fmla="*/ 1271691 h 6867538"/>
              <a:gd name="connsiteX19" fmla="*/ 3482482 w 4451395"/>
              <a:gd name="connsiteY19" fmla="*/ 1304023 h 6867538"/>
              <a:gd name="connsiteX20" fmla="*/ 3475110 w 4451395"/>
              <a:gd name="connsiteY20" fmla="*/ 1310513 h 6867538"/>
              <a:gd name="connsiteX21" fmla="*/ 3470272 w 4451395"/>
              <a:gd name="connsiteY21" fmla="*/ 1315777 h 6867538"/>
              <a:gd name="connsiteX22" fmla="*/ 3441143 w 4451395"/>
              <a:gd name="connsiteY22" fmla="*/ 1343818 h 6867538"/>
              <a:gd name="connsiteX23" fmla="*/ 3149787 w 4451395"/>
              <a:gd name="connsiteY23" fmla="*/ 1918038 h 6867538"/>
              <a:gd name="connsiteX24" fmla="*/ 3900434 w 4451395"/>
              <a:gd name="connsiteY24" fmla="*/ 4108658 h 6867538"/>
              <a:gd name="connsiteX25" fmla="*/ 4413743 w 4451395"/>
              <a:gd name="connsiteY25" fmla="*/ 4629443 h 6867538"/>
              <a:gd name="connsiteX26" fmla="*/ 4449807 w 4451395"/>
              <a:gd name="connsiteY26" fmla="*/ 4651642 h 6867538"/>
              <a:gd name="connsiteX27" fmla="*/ 4451395 w 4451395"/>
              <a:gd name="connsiteY27" fmla="*/ 6792445 h 6867538"/>
              <a:gd name="connsiteX28" fmla="*/ 4449807 w 4451395"/>
              <a:gd name="connsiteY28" fmla="*/ 6862770 h 6867538"/>
              <a:gd name="connsiteX29" fmla="*/ 45 w 4451395"/>
              <a:gd name="connsiteY29" fmla="*/ 6867538 h 6867538"/>
              <a:gd name="connsiteX30" fmla="*/ 3219 w 4451395"/>
              <a:gd name="connsiteY30" fmla="*/ 6749524 h 6867538"/>
              <a:gd name="connsiteX31" fmla="*/ 4807 w 4451395"/>
              <a:gd name="connsiteY31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68840 w 4452285"/>
              <a:gd name="connsiteY7" fmla="*/ 1112485 h 6867538"/>
              <a:gd name="connsiteX8" fmla="*/ 3742793 w 4452285"/>
              <a:gd name="connsiteY8" fmla="*/ 1122874 h 6867538"/>
              <a:gd name="connsiteX9" fmla="*/ 3704888 w 4452285"/>
              <a:gd name="connsiteY9" fmla="*/ 1143495 h 6867538"/>
              <a:gd name="connsiteX10" fmla="*/ 3683651 w 4452285"/>
              <a:gd name="connsiteY10" fmla="*/ 1153793 h 6867538"/>
              <a:gd name="connsiteX11" fmla="*/ 3668621 w 4452285"/>
              <a:gd name="connsiteY11" fmla="*/ 1163226 h 6867538"/>
              <a:gd name="connsiteX12" fmla="*/ 3647359 w 4452285"/>
              <a:gd name="connsiteY12" fmla="*/ 1174793 h 6867538"/>
              <a:gd name="connsiteX13" fmla="*/ 3623591 w 4452285"/>
              <a:gd name="connsiteY13" fmla="*/ 1191487 h 6867538"/>
              <a:gd name="connsiteX14" fmla="*/ 3597084 w 4452285"/>
              <a:gd name="connsiteY14" fmla="*/ 1208122 h 6867538"/>
              <a:gd name="connsiteX15" fmla="*/ 3573011 w 4452285"/>
              <a:gd name="connsiteY15" fmla="*/ 1227011 h 6867538"/>
              <a:gd name="connsiteX16" fmla="*/ 3557913 w 4452285"/>
              <a:gd name="connsiteY16" fmla="*/ 1237615 h 6867538"/>
              <a:gd name="connsiteX17" fmla="*/ 3544932 w 4452285"/>
              <a:gd name="connsiteY17" fmla="*/ 1249043 h 6867538"/>
              <a:gd name="connsiteX18" fmla="*/ 3516068 w 4452285"/>
              <a:gd name="connsiteY18" fmla="*/ 1271691 h 6867538"/>
              <a:gd name="connsiteX19" fmla="*/ 3482482 w 4452285"/>
              <a:gd name="connsiteY19" fmla="*/ 1304023 h 6867538"/>
              <a:gd name="connsiteX20" fmla="*/ 3475110 w 4452285"/>
              <a:gd name="connsiteY20" fmla="*/ 1310513 h 6867538"/>
              <a:gd name="connsiteX21" fmla="*/ 3470272 w 4452285"/>
              <a:gd name="connsiteY21" fmla="*/ 1315777 h 6867538"/>
              <a:gd name="connsiteX22" fmla="*/ 3441143 w 4452285"/>
              <a:gd name="connsiteY22" fmla="*/ 1343818 h 6867538"/>
              <a:gd name="connsiteX23" fmla="*/ 3149787 w 4452285"/>
              <a:gd name="connsiteY23" fmla="*/ 1918038 h 6867538"/>
              <a:gd name="connsiteX24" fmla="*/ 3900434 w 4452285"/>
              <a:gd name="connsiteY24" fmla="*/ 4108658 h 6867538"/>
              <a:gd name="connsiteX25" fmla="*/ 4413743 w 4452285"/>
              <a:gd name="connsiteY25" fmla="*/ 4629443 h 6867538"/>
              <a:gd name="connsiteX26" fmla="*/ 4449807 w 4452285"/>
              <a:gd name="connsiteY26" fmla="*/ 4651642 h 6867538"/>
              <a:gd name="connsiteX27" fmla="*/ 4451395 w 4452285"/>
              <a:gd name="connsiteY27" fmla="*/ 6792445 h 6867538"/>
              <a:gd name="connsiteX28" fmla="*/ 4452189 w 4452285"/>
              <a:gd name="connsiteY28" fmla="*/ 6862771 h 6867538"/>
              <a:gd name="connsiteX29" fmla="*/ 45 w 4452285"/>
              <a:gd name="connsiteY29" fmla="*/ 6867538 h 6867538"/>
              <a:gd name="connsiteX30" fmla="*/ 3219 w 4452285"/>
              <a:gd name="connsiteY30" fmla="*/ 6749524 h 6867538"/>
              <a:gd name="connsiteX31" fmla="*/ 4807 w 4452285"/>
              <a:gd name="connsiteY31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68840 w 4452285"/>
              <a:gd name="connsiteY7" fmla="*/ 1112485 h 6867538"/>
              <a:gd name="connsiteX8" fmla="*/ 3742793 w 4452285"/>
              <a:gd name="connsiteY8" fmla="*/ 1122874 h 6867538"/>
              <a:gd name="connsiteX9" fmla="*/ 3683651 w 4452285"/>
              <a:gd name="connsiteY9" fmla="*/ 1153793 h 6867538"/>
              <a:gd name="connsiteX10" fmla="*/ 3668621 w 4452285"/>
              <a:gd name="connsiteY10" fmla="*/ 1163226 h 6867538"/>
              <a:gd name="connsiteX11" fmla="*/ 3647359 w 4452285"/>
              <a:gd name="connsiteY11" fmla="*/ 1174793 h 6867538"/>
              <a:gd name="connsiteX12" fmla="*/ 3623591 w 4452285"/>
              <a:gd name="connsiteY12" fmla="*/ 1191487 h 6867538"/>
              <a:gd name="connsiteX13" fmla="*/ 3597084 w 4452285"/>
              <a:gd name="connsiteY13" fmla="*/ 1208122 h 6867538"/>
              <a:gd name="connsiteX14" fmla="*/ 3573011 w 4452285"/>
              <a:gd name="connsiteY14" fmla="*/ 1227011 h 6867538"/>
              <a:gd name="connsiteX15" fmla="*/ 3557913 w 4452285"/>
              <a:gd name="connsiteY15" fmla="*/ 1237615 h 6867538"/>
              <a:gd name="connsiteX16" fmla="*/ 3544932 w 4452285"/>
              <a:gd name="connsiteY16" fmla="*/ 1249043 h 6867538"/>
              <a:gd name="connsiteX17" fmla="*/ 3516068 w 4452285"/>
              <a:gd name="connsiteY17" fmla="*/ 1271691 h 6867538"/>
              <a:gd name="connsiteX18" fmla="*/ 3482482 w 4452285"/>
              <a:gd name="connsiteY18" fmla="*/ 1304023 h 6867538"/>
              <a:gd name="connsiteX19" fmla="*/ 3475110 w 4452285"/>
              <a:gd name="connsiteY19" fmla="*/ 1310513 h 6867538"/>
              <a:gd name="connsiteX20" fmla="*/ 3470272 w 4452285"/>
              <a:gd name="connsiteY20" fmla="*/ 1315777 h 6867538"/>
              <a:gd name="connsiteX21" fmla="*/ 3441143 w 4452285"/>
              <a:gd name="connsiteY21" fmla="*/ 1343818 h 6867538"/>
              <a:gd name="connsiteX22" fmla="*/ 3149787 w 4452285"/>
              <a:gd name="connsiteY22" fmla="*/ 1918038 h 6867538"/>
              <a:gd name="connsiteX23" fmla="*/ 3900434 w 4452285"/>
              <a:gd name="connsiteY23" fmla="*/ 4108658 h 6867538"/>
              <a:gd name="connsiteX24" fmla="*/ 4413743 w 4452285"/>
              <a:gd name="connsiteY24" fmla="*/ 4629443 h 6867538"/>
              <a:gd name="connsiteX25" fmla="*/ 4449807 w 4452285"/>
              <a:gd name="connsiteY25" fmla="*/ 4651642 h 6867538"/>
              <a:gd name="connsiteX26" fmla="*/ 4451395 w 4452285"/>
              <a:gd name="connsiteY26" fmla="*/ 6792445 h 6867538"/>
              <a:gd name="connsiteX27" fmla="*/ 4452189 w 4452285"/>
              <a:gd name="connsiteY27" fmla="*/ 6862771 h 6867538"/>
              <a:gd name="connsiteX28" fmla="*/ 45 w 4452285"/>
              <a:gd name="connsiteY28" fmla="*/ 6867538 h 6867538"/>
              <a:gd name="connsiteX29" fmla="*/ 3219 w 4452285"/>
              <a:gd name="connsiteY29" fmla="*/ 6749524 h 6867538"/>
              <a:gd name="connsiteX30" fmla="*/ 4807 w 4452285"/>
              <a:gd name="connsiteY30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68840 w 4452285"/>
              <a:gd name="connsiteY7" fmla="*/ 1112485 h 6867538"/>
              <a:gd name="connsiteX8" fmla="*/ 3742793 w 4452285"/>
              <a:gd name="connsiteY8" fmla="*/ 1122874 h 6867538"/>
              <a:gd name="connsiteX9" fmla="*/ 3668621 w 4452285"/>
              <a:gd name="connsiteY9" fmla="*/ 1163226 h 6867538"/>
              <a:gd name="connsiteX10" fmla="*/ 3647359 w 4452285"/>
              <a:gd name="connsiteY10" fmla="*/ 1174793 h 6867538"/>
              <a:gd name="connsiteX11" fmla="*/ 3623591 w 4452285"/>
              <a:gd name="connsiteY11" fmla="*/ 1191487 h 6867538"/>
              <a:gd name="connsiteX12" fmla="*/ 3597084 w 4452285"/>
              <a:gd name="connsiteY12" fmla="*/ 1208122 h 6867538"/>
              <a:gd name="connsiteX13" fmla="*/ 3573011 w 4452285"/>
              <a:gd name="connsiteY13" fmla="*/ 1227011 h 6867538"/>
              <a:gd name="connsiteX14" fmla="*/ 3557913 w 4452285"/>
              <a:gd name="connsiteY14" fmla="*/ 1237615 h 6867538"/>
              <a:gd name="connsiteX15" fmla="*/ 3544932 w 4452285"/>
              <a:gd name="connsiteY15" fmla="*/ 1249043 h 6867538"/>
              <a:gd name="connsiteX16" fmla="*/ 3516068 w 4452285"/>
              <a:gd name="connsiteY16" fmla="*/ 1271691 h 6867538"/>
              <a:gd name="connsiteX17" fmla="*/ 3482482 w 4452285"/>
              <a:gd name="connsiteY17" fmla="*/ 1304023 h 6867538"/>
              <a:gd name="connsiteX18" fmla="*/ 3475110 w 4452285"/>
              <a:gd name="connsiteY18" fmla="*/ 1310513 h 6867538"/>
              <a:gd name="connsiteX19" fmla="*/ 3470272 w 4452285"/>
              <a:gd name="connsiteY19" fmla="*/ 1315777 h 6867538"/>
              <a:gd name="connsiteX20" fmla="*/ 3441143 w 4452285"/>
              <a:gd name="connsiteY20" fmla="*/ 1343818 h 6867538"/>
              <a:gd name="connsiteX21" fmla="*/ 3149787 w 4452285"/>
              <a:gd name="connsiteY21" fmla="*/ 1918038 h 6867538"/>
              <a:gd name="connsiteX22" fmla="*/ 3900434 w 4452285"/>
              <a:gd name="connsiteY22" fmla="*/ 4108658 h 6867538"/>
              <a:gd name="connsiteX23" fmla="*/ 4413743 w 4452285"/>
              <a:gd name="connsiteY23" fmla="*/ 4629443 h 6867538"/>
              <a:gd name="connsiteX24" fmla="*/ 4449807 w 4452285"/>
              <a:gd name="connsiteY24" fmla="*/ 4651642 h 6867538"/>
              <a:gd name="connsiteX25" fmla="*/ 4451395 w 4452285"/>
              <a:gd name="connsiteY25" fmla="*/ 6792445 h 6867538"/>
              <a:gd name="connsiteX26" fmla="*/ 4452189 w 4452285"/>
              <a:gd name="connsiteY26" fmla="*/ 6862771 h 6867538"/>
              <a:gd name="connsiteX27" fmla="*/ 45 w 4452285"/>
              <a:gd name="connsiteY27" fmla="*/ 6867538 h 6867538"/>
              <a:gd name="connsiteX28" fmla="*/ 3219 w 4452285"/>
              <a:gd name="connsiteY28" fmla="*/ 6749524 h 6867538"/>
              <a:gd name="connsiteX29" fmla="*/ 4807 w 4452285"/>
              <a:gd name="connsiteY29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68840 w 4452285"/>
              <a:gd name="connsiteY7" fmla="*/ 1112485 h 6867538"/>
              <a:gd name="connsiteX8" fmla="*/ 3742793 w 4452285"/>
              <a:gd name="connsiteY8" fmla="*/ 1122874 h 6867538"/>
              <a:gd name="connsiteX9" fmla="*/ 3647359 w 4452285"/>
              <a:gd name="connsiteY9" fmla="*/ 1174793 h 6867538"/>
              <a:gd name="connsiteX10" fmla="*/ 3623591 w 4452285"/>
              <a:gd name="connsiteY10" fmla="*/ 1191487 h 6867538"/>
              <a:gd name="connsiteX11" fmla="*/ 3597084 w 4452285"/>
              <a:gd name="connsiteY11" fmla="*/ 1208122 h 6867538"/>
              <a:gd name="connsiteX12" fmla="*/ 3573011 w 4452285"/>
              <a:gd name="connsiteY12" fmla="*/ 1227011 h 6867538"/>
              <a:gd name="connsiteX13" fmla="*/ 3557913 w 4452285"/>
              <a:gd name="connsiteY13" fmla="*/ 1237615 h 6867538"/>
              <a:gd name="connsiteX14" fmla="*/ 3544932 w 4452285"/>
              <a:gd name="connsiteY14" fmla="*/ 1249043 h 6867538"/>
              <a:gd name="connsiteX15" fmla="*/ 3516068 w 4452285"/>
              <a:gd name="connsiteY15" fmla="*/ 1271691 h 6867538"/>
              <a:gd name="connsiteX16" fmla="*/ 3482482 w 4452285"/>
              <a:gd name="connsiteY16" fmla="*/ 1304023 h 6867538"/>
              <a:gd name="connsiteX17" fmla="*/ 3475110 w 4452285"/>
              <a:gd name="connsiteY17" fmla="*/ 1310513 h 6867538"/>
              <a:gd name="connsiteX18" fmla="*/ 3470272 w 4452285"/>
              <a:gd name="connsiteY18" fmla="*/ 1315777 h 6867538"/>
              <a:gd name="connsiteX19" fmla="*/ 3441143 w 4452285"/>
              <a:gd name="connsiteY19" fmla="*/ 1343818 h 6867538"/>
              <a:gd name="connsiteX20" fmla="*/ 3149787 w 4452285"/>
              <a:gd name="connsiteY20" fmla="*/ 1918038 h 6867538"/>
              <a:gd name="connsiteX21" fmla="*/ 3900434 w 4452285"/>
              <a:gd name="connsiteY21" fmla="*/ 4108658 h 6867538"/>
              <a:gd name="connsiteX22" fmla="*/ 4413743 w 4452285"/>
              <a:gd name="connsiteY22" fmla="*/ 4629443 h 6867538"/>
              <a:gd name="connsiteX23" fmla="*/ 4449807 w 4452285"/>
              <a:gd name="connsiteY23" fmla="*/ 4651642 h 6867538"/>
              <a:gd name="connsiteX24" fmla="*/ 4451395 w 4452285"/>
              <a:gd name="connsiteY24" fmla="*/ 6792445 h 6867538"/>
              <a:gd name="connsiteX25" fmla="*/ 4452189 w 4452285"/>
              <a:gd name="connsiteY25" fmla="*/ 6862771 h 6867538"/>
              <a:gd name="connsiteX26" fmla="*/ 45 w 4452285"/>
              <a:gd name="connsiteY26" fmla="*/ 6867538 h 6867538"/>
              <a:gd name="connsiteX27" fmla="*/ 3219 w 4452285"/>
              <a:gd name="connsiteY27" fmla="*/ 6749524 h 6867538"/>
              <a:gd name="connsiteX28" fmla="*/ 4807 w 4452285"/>
              <a:gd name="connsiteY28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42793 w 4452285"/>
              <a:gd name="connsiteY7" fmla="*/ 1122874 h 6867538"/>
              <a:gd name="connsiteX8" fmla="*/ 3647359 w 4452285"/>
              <a:gd name="connsiteY8" fmla="*/ 1174793 h 6867538"/>
              <a:gd name="connsiteX9" fmla="*/ 3623591 w 4452285"/>
              <a:gd name="connsiteY9" fmla="*/ 1191487 h 6867538"/>
              <a:gd name="connsiteX10" fmla="*/ 3597084 w 4452285"/>
              <a:gd name="connsiteY10" fmla="*/ 1208122 h 6867538"/>
              <a:gd name="connsiteX11" fmla="*/ 3573011 w 4452285"/>
              <a:gd name="connsiteY11" fmla="*/ 1227011 h 6867538"/>
              <a:gd name="connsiteX12" fmla="*/ 3557913 w 4452285"/>
              <a:gd name="connsiteY12" fmla="*/ 1237615 h 6867538"/>
              <a:gd name="connsiteX13" fmla="*/ 3544932 w 4452285"/>
              <a:gd name="connsiteY13" fmla="*/ 1249043 h 6867538"/>
              <a:gd name="connsiteX14" fmla="*/ 3516068 w 4452285"/>
              <a:gd name="connsiteY14" fmla="*/ 1271691 h 6867538"/>
              <a:gd name="connsiteX15" fmla="*/ 3482482 w 4452285"/>
              <a:gd name="connsiteY15" fmla="*/ 1304023 h 6867538"/>
              <a:gd name="connsiteX16" fmla="*/ 3475110 w 4452285"/>
              <a:gd name="connsiteY16" fmla="*/ 1310513 h 6867538"/>
              <a:gd name="connsiteX17" fmla="*/ 3470272 w 4452285"/>
              <a:gd name="connsiteY17" fmla="*/ 1315777 h 6867538"/>
              <a:gd name="connsiteX18" fmla="*/ 3441143 w 4452285"/>
              <a:gd name="connsiteY18" fmla="*/ 1343818 h 6867538"/>
              <a:gd name="connsiteX19" fmla="*/ 3149787 w 4452285"/>
              <a:gd name="connsiteY19" fmla="*/ 1918038 h 6867538"/>
              <a:gd name="connsiteX20" fmla="*/ 3900434 w 4452285"/>
              <a:gd name="connsiteY20" fmla="*/ 4108658 h 6867538"/>
              <a:gd name="connsiteX21" fmla="*/ 4413743 w 4452285"/>
              <a:gd name="connsiteY21" fmla="*/ 4629443 h 6867538"/>
              <a:gd name="connsiteX22" fmla="*/ 4449807 w 4452285"/>
              <a:gd name="connsiteY22" fmla="*/ 4651642 h 6867538"/>
              <a:gd name="connsiteX23" fmla="*/ 4451395 w 4452285"/>
              <a:gd name="connsiteY23" fmla="*/ 6792445 h 6867538"/>
              <a:gd name="connsiteX24" fmla="*/ 4452189 w 4452285"/>
              <a:gd name="connsiteY24" fmla="*/ 6862771 h 6867538"/>
              <a:gd name="connsiteX25" fmla="*/ 45 w 4452285"/>
              <a:gd name="connsiteY25" fmla="*/ 6867538 h 6867538"/>
              <a:gd name="connsiteX26" fmla="*/ 3219 w 4452285"/>
              <a:gd name="connsiteY26" fmla="*/ 6749524 h 6867538"/>
              <a:gd name="connsiteX27" fmla="*/ 4807 w 4452285"/>
              <a:gd name="connsiteY27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42793 w 4452285"/>
              <a:gd name="connsiteY6" fmla="*/ 1122874 h 6867538"/>
              <a:gd name="connsiteX7" fmla="*/ 3647359 w 4452285"/>
              <a:gd name="connsiteY7" fmla="*/ 1174793 h 6867538"/>
              <a:gd name="connsiteX8" fmla="*/ 3623591 w 4452285"/>
              <a:gd name="connsiteY8" fmla="*/ 1191487 h 6867538"/>
              <a:gd name="connsiteX9" fmla="*/ 3597084 w 4452285"/>
              <a:gd name="connsiteY9" fmla="*/ 1208122 h 6867538"/>
              <a:gd name="connsiteX10" fmla="*/ 3573011 w 4452285"/>
              <a:gd name="connsiteY10" fmla="*/ 1227011 h 6867538"/>
              <a:gd name="connsiteX11" fmla="*/ 3557913 w 4452285"/>
              <a:gd name="connsiteY11" fmla="*/ 1237615 h 6867538"/>
              <a:gd name="connsiteX12" fmla="*/ 3544932 w 4452285"/>
              <a:gd name="connsiteY12" fmla="*/ 1249043 h 6867538"/>
              <a:gd name="connsiteX13" fmla="*/ 3516068 w 4452285"/>
              <a:gd name="connsiteY13" fmla="*/ 1271691 h 6867538"/>
              <a:gd name="connsiteX14" fmla="*/ 3482482 w 4452285"/>
              <a:gd name="connsiteY14" fmla="*/ 1304023 h 6867538"/>
              <a:gd name="connsiteX15" fmla="*/ 3475110 w 4452285"/>
              <a:gd name="connsiteY15" fmla="*/ 1310513 h 6867538"/>
              <a:gd name="connsiteX16" fmla="*/ 3470272 w 4452285"/>
              <a:gd name="connsiteY16" fmla="*/ 1315777 h 6867538"/>
              <a:gd name="connsiteX17" fmla="*/ 3441143 w 4452285"/>
              <a:gd name="connsiteY17" fmla="*/ 1343818 h 6867538"/>
              <a:gd name="connsiteX18" fmla="*/ 3149787 w 4452285"/>
              <a:gd name="connsiteY18" fmla="*/ 1918038 h 6867538"/>
              <a:gd name="connsiteX19" fmla="*/ 3900434 w 4452285"/>
              <a:gd name="connsiteY19" fmla="*/ 4108658 h 6867538"/>
              <a:gd name="connsiteX20" fmla="*/ 4413743 w 4452285"/>
              <a:gd name="connsiteY20" fmla="*/ 4629443 h 6867538"/>
              <a:gd name="connsiteX21" fmla="*/ 4449807 w 4452285"/>
              <a:gd name="connsiteY21" fmla="*/ 4651642 h 6867538"/>
              <a:gd name="connsiteX22" fmla="*/ 4451395 w 4452285"/>
              <a:gd name="connsiteY22" fmla="*/ 6792445 h 6867538"/>
              <a:gd name="connsiteX23" fmla="*/ 4452189 w 4452285"/>
              <a:gd name="connsiteY23" fmla="*/ 6862771 h 6867538"/>
              <a:gd name="connsiteX24" fmla="*/ 45 w 4452285"/>
              <a:gd name="connsiteY24" fmla="*/ 6867538 h 6867538"/>
              <a:gd name="connsiteX25" fmla="*/ 3219 w 4452285"/>
              <a:gd name="connsiteY25" fmla="*/ 6749524 h 6867538"/>
              <a:gd name="connsiteX26" fmla="*/ 4807 w 4452285"/>
              <a:gd name="connsiteY26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57913 w 4452285"/>
              <a:gd name="connsiteY10" fmla="*/ 1237615 h 6867538"/>
              <a:gd name="connsiteX11" fmla="*/ 3544932 w 4452285"/>
              <a:gd name="connsiteY11" fmla="*/ 1249043 h 6867538"/>
              <a:gd name="connsiteX12" fmla="*/ 3516068 w 4452285"/>
              <a:gd name="connsiteY12" fmla="*/ 1271691 h 6867538"/>
              <a:gd name="connsiteX13" fmla="*/ 3482482 w 4452285"/>
              <a:gd name="connsiteY13" fmla="*/ 1304023 h 6867538"/>
              <a:gd name="connsiteX14" fmla="*/ 3475110 w 4452285"/>
              <a:gd name="connsiteY14" fmla="*/ 1310513 h 6867538"/>
              <a:gd name="connsiteX15" fmla="*/ 3470272 w 4452285"/>
              <a:gd name="connsiteY15" fmla="*/ 1315777 h 6867538"/>
              <a:gd name="connsiteX16" fmla="*/ 3441143 w 4452285"/>
              <a:gd name="connsiteY16" fmla="*/ 1343818 h 6867538"/>
              <a:gd name="connsiteX17" fmla="*/ 3149787 w 4452285"/>
              <a:gd name="connsiteY17" fmla="*/ 1918038 h 6867538"/>
              <a:gd name="connsiteX18" fmla="*/ 3900434 w 4452285"/>
              <a:gd name="connsiteY18" fmla="*/ 4108658 h 6867538"/>
              <a:gd name="connsiteX19" fmla="*/ 4413743 w 4452285"/>
              <a:gd name="connsiteY19" fmla="*/ 4629443 h 6867538"/>
              <a:gd name="connsiteX20" fmla="*/ 4449807 w 4452285"/>
              <a:gd name="connsiteY20" fmla="*/ 4651642 h 6867538"/>
              <a:gd name="connsiteX21" fmla="*/ 4451395 w 4452285"/>
              <a:gd name="connsiteY21" fmla="*/ 6792445 h 6867538"/>
              <a:gd name="connsiteX22" fmla="*/ 4452189 w 4452285"/>
              <a:gd name="connsiteY22" fmla="*/ 6862771 h 6867538"/>
              <a:gd name="connsiteX23" fmla="*/ 45 w 4452285"/>
              <a:gd name="connsiteY23" fmla="*/ 6867538 h 6867538"/>
              <a:gd name="connsiteX24" fmla="*/ 3219 w 4452285"/>
              <a:gd name="connsiteY24" fmla="*/ 6749524 h 6867538"/>
              <a:gd name="connsiteX25" fmla="*/ 4807 w 4452285"/>
              <a:gd name="connsiteY25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57913 w 4452285"/>
              <a:gd name="connsiteY10" fmla="*/ 1237615 h 6867538"/>
              <a:gd name="connsiteX11" fmla="*/ 3544932 w 4452285"/>
              <a:gd name="connsiteY11" fmla="*/ 1249043 h 6867538"/>
              <a:gd name="connsiteX12" fmla="*/ 3516068 w 4452285"/>
              <a:gd name="connsiteY12" fmla="*/ 1271691 h 6867538"/>
              <a:gd name="connsiteX13" fmla="*/ 3482482 w 4452285"/>
              <a:gd name="connsiteY13" fmla="*/ 1304023 h 6867538"/>
              <a:gd name="connsiteX14" fmla="*/ 3475110 w 4452285"/>
              <a:gd name="connsiteY14" fmla="*/ 1310513 h 6867538"/>
              <a:gd name="connsiteX15" fmla="*/ 3441143 w 4452285"/>
              <a:gd name="connsiteY15" fmla="*/ 1343818 h 6867538"/>
              <a:gd name="connsiteX16" fmla="*/ 3149787 w 4452285"/>
              <a:gd name="connsiteY16" fmla="*/ 1918038 h 6867538"/>
              <a:gd name="connsiteX17" fmla="*/ 3900434 w 4452285"/>
              <a:gd name="connsiteY17" fmla="*/ 4108658 h 6867538"/>
              <a:gd name="connsiteX18" fmla="*/ 4413743 w 4452285"/>
              <a:gd name="connsiteY18" fmla="*/ 4629443 h 6867538"/>
              <a:gd name="connsiteX19" fmla="*/ 4449807 w 4452285"/>
              <a:gd name="connsiteY19" fmla="*/ 4651642 h 6867538"/>
              <a:gd name="connsiteX20" fmla="*/ 4451395 w 4452285"/>
              <a:gd name="connsiteY20" fmla="*/ 6792445 h 6867538"/>
              <a:gd name="connsiteX21" fmla="*/ 4452189 w 4452285"/>
              <a:gd name="connsiteY21" fmla="*/ 6862771 h 6867538"/>
              <a:gd name="connsiteX22" fmla="*/ 45 w 4452285"/>
              <a:gd name="connsiteY22" fmla="*/ 6867538 h 6867538"/>
              <a:gd name="connsiteX23" fmla="*/ 3219 w 4452285"/>
              <a:gd name="connsiteY23" fmla="*/ 6749524 h 6867538"/>
              <a:gd name="connsiteX24" fmla="*/ 4807 w 4452285"/>
              <a:gd name="connsiteY24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57913 w 4452285"/>
              <a:gd name="connsiteY10" fmla="*/ 1237615 h 6867538"/>
              <a:gd name="connsiteX11" fmla="*/ 3544932 w 4452285"/>
              <a:gd name="connsiteY11" fmla="*/ 1249043 h 6867538"/>
              <a:gd name="connsiteX12" fmla="*/ 3516068 w 4452285"/>
              <a:gd name="connsiteY12" fmla="*/ 1271691 h 6867538"/>
              <a:gd name="connsiteX13" fmla="*/ 3482482 w 4452285"/>
              <a:gd name="connsiteY13" fmla="*/ 1304023 h 6867538"/>
              <a:gd name="connsiteX14" fmla="*/ 3441143 w 4452285"/>
              <a:gd name="connsiteY14" fmla="*/ 1343818 h 6867538"/>
              <a:gd name="connsiteX15" fmla="*/ 3149787 w 4452285"/>
              <a:gd name="connsiteY15" fmla="*/ 1918038 h 6867538"/>
              <a:gd name="connsiteX16" fmla="*/ 3900434 w 4452285"/>
              <a:gd name="connsiteY16" fmla="*/ 4108658 h 6867538"/>
              <a:gd name="connsiteX17" fmla="*/ 4413743 w 4452285"/>
              <a:gd name="connsiteY17" fmla="*/ 4629443 h 6867538"/>
              <a:gd name="connsiteX18" fmla="*/ 4449807 w 4452285"/>
              <a:gd name="connsiteY18" fmla="*/ 4651642 h 6867538"/>
              <a:gd name="connsiteX19" fmla="*/ 4451395 w 4452285"/>
              <a:gd name="connsiteY19" fmla="*/ 6792445 h 6867538"/>
              <a:gd name="connsiteX20" fmla="*/ 4452189 w 4452285"/>
              <a:gd name="connsiteY20" fmla="*/ 6862771 h 6867538"/>
              <a:gd name="connsiteX21" fmla="*/ 45 w 4452285"/>
              <a:gd name="connsiteY21" fmla="*/ 6867538 h 6867538"/>
              <a:gd name="connsiteX22" fmla="*/ 3219 w 4452285"/>
              <a:gd name="connsiteY22" fmla="*/ 6749524 h 6867538"/>
              <a:gd name="connsiteX23" fmla="*/ 4807 w 4452285"/>
              <a:gd name="connsiteY23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57913 w 4452285"/>
              <a:gd name="connsiteY10" fmla="*/ 1237615 h 6867538"/>
              <a:gd name="connsiteX11" fmla="*/ 3516068 w 4452285"/>
              <a:gd name="connsiteY11" fmla="*/ 1271691 h 6867538"/>
              <a:gd name="connsiteX12" fmla="*/ 3482482 w 4452285"/>
              <a:gd name="connsiteY12" fmla="*/ 1304023 h 6867538"/>
              <a:gd name="connsiteX13" fmla="*/ 3441143 w 4452285"/>
              <a:gd name="connsiteY13" fmla="*/ 1343818 h 6867538"/>
              <a:gd name="connsiteX14" fmla="*/ 3149787 w 4452285"/>
              <a:gd name="connsiteY14" fmla="*/ 1918038 h 6867538"/>
              <a:gd name="connsiteX15" fmla="*/ 3900434 w 4452285"/>
              <a:gd name="connsiteY15" fmla="*/ 4108658 h 6867538"/>
              <a:gd name="connsiteX16" fmla="*/ 4413743 w 4452285"/>
              <a:gd name="connsiteY16" fmla="*/ 4629443 h 6867538"/>
              <a:gd name="connsiteX17" fmla="*/ 4449807 w 4452285"/>
              <a:gd name="connsiteY17" fmla="*/ 4651642 h 6867538"/>
              <a:gd name="connsiteX18" fmla="*/ 4451395 w 4452285"/>
              <a:gd name="connsiteY18" fmla="*/ 6792445 h 6867538"/>
              <a:gd name="connsiteX19" fmla="*/ 4452189 w 4452285"/>
              <a:gd name="connsiteY19" fmla="*/ 6862771 h 6867538"/>
              <a:gd name="connsiteX20" fmla="*/ 45 w 4452285"/>
              <a:gd name="connsiteY20" fmla="*/ 6867538 h 6867538"/>
              <a:gd name="connsiteX21" fmla="*/ 3219 w 4452285"/>
              <a:gd name="connsiteY21" fmla="*/ 6749524 h 6867538"/>
              <a:gd name="connsiteX22" fmla="*/ 4807 w 4452285"/>
              <a:gd name="connsiteY22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16068 w 4452285"/>
              <a:gd name="connsiteY10" fmla="*/ 1271691 h 6867538"/>
              <a:gd name="connsiteX11" fmla="*/ 3482482 w 4452285"/>
              <a:gd name="connsiteY11" fmla="*/ 1304023 h 6867538"/>
              <a:gd name="connsiteX12" fmla="*/ 3441143 w 4452285"/>
              <a:gd name="connsiteY12" fmla="*/ 1343818 h 6867538"/>
              <a:gd name="connsiteX13" fmla="*/ 3149787 w 4452285"/>
              <a:gd name="connsiteY13" fmla="*/ 1918038 h 6867538"/>
              <a:gd name="connsiteX14" fmla="*/ 3900434 w 4452285"/>
              <a:gd name="connsiteY14" fmla="*/ 4108658 h 6867538"/>
              <a:gd name="connsiteX15" fmla="*/ 4413743 w 4452285"/>
              <a:gd name="connsiteY15" fmla="*/ 4629443 h 6867538"/>
              <a:gd name="connsiteX16" fmla="*/ 4449807 w 4452285"/>
              <a:gd name="connsiteY16" fmla="*/ 4651642 h 6867538"/>
              <a:gd name="connsiteX17" fmla="*/ 4451395 w 4452285"/>
              <a:gd name="connsiteY17" fmla="*/ 6792445 h 6867538"/>
              <a:gd name="connsiteX18" fmla="*/ 4452189 w 4452285"/>
              <a:gd name="connsiteY18" fmla="*/ 6862771 h 6867538"/>
              <a:gd name="connsiteX19" fmla="*/ 45 w 4452285"/>
              <a:gd name="connsiteY19" fmla="*/ 6867538 h 6867538"/>
              <a:gd name="connsiteX20" fmla="*/ 3219 w 4452285"/>
              <a:gd name="connsiteY20" fmla="*/ 6749524 h 6867538"/>
              <a:gd name="connsiteX21" fmla="*/ 4807 w 4452285"/>
              <a:gd name="connsiteY21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597084 w 4452285"/>
              <a:gd name="connsiteY7" fmla="*/ 1208122 h 6867538"/>
              <a:gd name="connsiteX8" fmla="*/ 3573011 w 4452285"/>
              <a:gd name="connsiteY8" fmla="*/ 1227011 h 6867538"/>
              <a:gd name="connsiteX9" fmla="*/ 3516068 w 4452285"/>
              <a:gd name="connsiteY9" fmla="*/ 1271691 h 6867538"/>
              <a:gd name="connsiteX10" fmla="*/ 3482482 w 4452285"/>
              <a:gd name="connsiteY10" fmla="*/ 1304023 h 6867538"/>
              <a:gd name="connsiteX11" fmla="*/ 3441143 w 4452285"/>
              <a:gd name="connsiteY11" fmla="*/ 1343818 h 6867538"/>
              <a:gd name="connsiteX12" fmla="*/ 3149787 w 4452285"/>
              <a:gd name="connsiteY12" fmla="*/ 1918038 h 6867538"/>
              <a:gd name="connsiteX13" fmla="*/ 3900434 w 4452285"/>
              <a:gd name="connsiteY13" fmla="*/ 4108658 h 6867538"/>
              <a:gd name="connsiteX14" fmla="*/ 4413743 w 4452285"/>
              <a:gd name="connsiteY14" fmla="*/ 4629443 h 6867538"/>
              <a:gd name="connsiteX15" fmla="*/ 4449807 w 4452285"/>
              <a:gd name="connsiteY15" fmla="*/ 4651642 h 6867538"/>
              <a:gd name="connsiteX16" fmla="*/ 4451395 w 4452285"/>
              <a:gd name="connsiteY16" fmla="*/ 6792445 h 6867538"/>
              <a:gd name="connsiteX17" fmla="*/ 4452189 w 4452285"/>
              <a:gd name="connsiteY17" fmla="*/ 6862771 h 6867538"/>
              <a:gd name="connsiteX18" fmla="*/ 45 w 4452285"/>
              <a:gd name="connsiteY18" fmla="*/ 6867538 h 6867538"/>
              <a:gd name="connsiteX19" fmla="*/ 3219 w 4452285"/>
              <a:gd name="connsiteY19" fmla="*/ 6749524 h 6867538"/>
              <a:gd name="connsiteX20" fmla="*/ 4807 w 4452285"/>
              <a:gd name="connsiteY20" fmla="*/ 0 h 686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452285" h="6867538">
                <a:moveTo>
                  <a:pt x="4807" y="0"/>
                </a:moveTo>
                <a:lnTo>
                  <a:pt x="4449807" y="0"/>
                </a:lnTo>
                <a:lnTo>
                  <a:pt x="4449807" y="1104781"/>
                </a:lnTo>
                <a:lnTo>
                  <a:pt x="4404398" y="1086630"/>
                </a:lnTo>
                <a:cubicBezTo>
                  <a:pt x="4207082" y="1021509"/>
                  <a:pt x="4015580" y="1025937"/>
                  <a:pt x="3843559" y="1082684"/>
                </a:cubicBezTo>
                <a:lnTo>
                  <a:pt x="3742793" y="1122874"/>
                </a:lnTo>
                <a:lnTo>
                  <a:pt x="3647359" y="1174793"/>
                </a:lnTo>
                <a:lnTo>
                  <a:pt x="3597084" y="1208122"/>
                </a:lnTo>
                <a:lnTo>
                  <a:pt x="3573011" y="1227011"/>
                </a:lnTo>
                <a:lnTo>
                  <a:pt x="3516068" y="1271691"/>
                </a:lnTo>
                <a:lnTo>
                  <a:pt x="3482482" y="1304023"/>
                </a:lnTo>
                <a:lnTo>
                  <a:pt x="3441143" y="1343818"/>
                </a:lnTo>
                <a:cubicBezTo>
                  <a:pt x="3297746" y="1496173"/>
                  <a:pt x="3194140" y="1695776"/>
                  <a:pt x="3149787" y="1918038"/>
                </a:cubicBezTo>
                <a:cubicBezTo>
                  <a:pt x="3023628" y="2550252"/>
                  <a:pt x="3471493" y="3536504"/>
                  <a:pt x="3900434" y="4108658"/>
                </a:cubicBezTo>
                <a:cubicBezTo>
                  <a:pt x="4056555" y="4317288"/>
                  <a:pt x="4230024" y="4500630"/>
                  <a:pt x="4413743" y="4629443"/>
                </a:cubicBezTo>
                <a:lnTo>
                  <a:pt x="4449807" y="4651642"/>
                </a:lnTo>
                <a:cubicBezTo>
                  <a:pt x="4450336" y="5365243"/>
                  <a:pt x="4450866" y="6078844"/>
                  <a:pt x="4451395" y="6792445"/>
                </a:cubicBezTo>
                <a:cubicBezTo>
                  <a:pt x="4450866" y="6814297"/>
                  <a:pt x="4452718" y="6840919"/>
                  <a:pt x="4452189" y="6862771"/>
                </a:cubicBezTo>
                <a:lnTo>
                  <a:pt x="45" y="6867538"/>
                </a:lnTo>
                <a:cubicBezTo>
                  <a:pt x="-484" y="6831379"/>
                  <a:pt x="3748" y="6785683"/>
                  <a:pt x="3219" y="6749524"/>
                </a:cubicBezTo>
                <a:cubicBezTo>
                  <a:pt x="3748" y="4499683"/>
                  <a:pt x="4278" y="2249841"/>
                  <a:pt x="4807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414C06C-C3FC-4083-A815-2FF3B119D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8576" y="2125167"/>
            <a:ext cx="6658864" cy="1344042"/>
          </a:xfrm>
        </p:spPr>
        <p:txBody>
          <a:bodyPr lIns="0" anchor="ctr"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634F5A2-CBEC-4698-9A76-4E72F8CF31A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608576" y="3607373"/>
            <a:ext cx="6658864" cy="429642"/>
          </a:xfrm>
        </p:spPr>
        <p:txBody>
          <a:bodyPr lIns="0"/>
          <a:lstStyle>
            <a:lvl1pPr marL="0" indent="0">
              <a:lnSpc>
                <a:spcPct val="100000"/>
              </a:lnSpc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(Author, Date and Location) edit here</a:t>
            </a:r>
          </a:p>
        </p:txBody>
      </p:sp>
    </p:spTree>
    <p:extLst>
      <p:ext uri="{BB962C8B-B14F-4D97-AF65-F5344CB8AC3E}">
        <p14:creationId xmlns:p14="http://schemas.microsoft.com/office/powerpoint/2010/main" val="32080396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rizontal_Box_4_with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7EF014E1-174C-4EAA-88DF-5E1C519502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8AD551B-0B26-415B-AEB3-1A7A789A540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56376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7863AFD7-48AC-4FD5-9E2E-6E638BCEDF3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48516" y="1409700"/>
            <a:ext cx="56376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40F2A822-F4D7-4938-890C-2C3F9CDF138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0" y="3859667"/>
            <a:ext cx="56376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7A616A18-77BE-4ECE-84FC-71D44D4FE0C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48513" y="3859667"/>
            <a:ext cx="56376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96DCA3A-4F47-4FE8-8AED-A7EBDBBEB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E677E9-2EEA-4C59-885C-A439AAEE00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691644DE-1240-474D-8865-0AE74D09A30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38D728-52E6-43DA-974B-C527A4DE450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F00FE57-DA08-4F63-9F98-79D0FF8D417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39EAB00-CE4C-47AD-83EF-D75F80C6B429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CD652956-819C-41EE-B51B-A396B7C5C14B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75F9D722-AF2F-422C-A93C-9F8E82391FE1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55934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2251">
          <p15:clr>
            <a:srgbClr val="FBAE40"/>
          </p15:clr>
        </p15:guide>
        <p15:guide id="4" orient="horz" pos="24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s_w_images_11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2">
            <a:extLst>
              <a:ext uri="{FF2B5EF4-FFF2-40B4-BE49-F238E27FC236}">
                <a16:creationId xmlns:a16="http://schemas.microsoft.com/office/drawing/2014/main" id="{22A2FF70-2B96-4040-9063-72BC7E0C003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5445" y="1408846"/>
            <a:ext cx="3664800" cy="216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2" name="Bildplatzhalter 12">
            <a:extLst>
              <a:ext uri="{FF2B5EF4-FFF2-40B4-BE49-F238E27FC236}">
                <a16:creationId xmlns:a16="http://schemas.microsoft.com/office/drawing/2014/main" id="{4CD7E9E4-B104-431C-ADEB-572011D1326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2761" y="1408846"/>
            <a:ext cx="3664800" cy="216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4" name="Bildplatzhalter 12">
            <a:extLst>
              <a:ext uri="{FF2B5EF4-FFF2-40B4-BE49-F238E27FC236}">
                <a16:creationId xmlns:a16="http://schemas.microsoft.com/office/drawing/2014/main" id="{C5BA7CE5-72A5-4259-9412-EA0AA871808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20077" y="1408846"/>
            <a:ext cx="3664800" cy="216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1F631DFA-F4A0-4B1F-B47F-B3E7590F8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8875AE-1936-400E-BA56-EF4B4DA1C7A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5445" y="3861951"/>
            <a:ext cx="36648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4F0B694B-3C96-445C-A6D6-58D71987A414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305445" y="4257950"/>
            <a:ext cx="3664800" cy="1761213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E74FEB3-202C-4AC8-88E1-6B70B0E9064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62761" y="3861951"/>
            <a:ext cx="36648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27" name="Content Placeholder 24">
            <a:extLst>
              <a:ext uri="{FF2B5EF4-FFF2-40B4-BE49-F238E27FC236}">
                <a16:creationId xmlns:a16="http://schemas.microsoft.com/office/drawing/2014/main" id="{9B5DB951-949C-4920-8DE2-B5ACC3A3EA78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262761" y="4257950"/>
            <a:ext cx="3664800" cy="1761213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1EAB7AE5-790B-47CD-8281-1E5EB2E9519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20077" y="3861951"/>
            <a:ext cx="36648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29" name="Content Placeholder 24">
            <a:extLst>
              <a:ext uri="{FF2B5EF4-FFF2-40B4-BE49-F238E27FC236}">
                <a16:creationId xmlns:a16="http://schemas.microsoft.com/office/drawing/2014/main" id="{ACA11A75-7693-4504-B9A0-EBBA2701CD81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220077" y="4257950"/>
            <a:ext cx="3664800" cy="1761213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6C3736BE-F681-4456-905C-69BF22453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5B2CCF46-F099-4811-A651-393341C2D48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39" name="Date Placeholder 38">
            <a:extLst>
              <a:ext uri="{FF2B5EF4-FFF2-40B4-BE49-F238E27FC236}">
                <a16:creationId xmlns:a16="http://schemas.microsoft.com/office/drawing/2014/main" id="{C94933BA-DB28-47A2-859F-45FCC7AB6DC8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F0FAD2F9-5D7D-4D4E-A363-22DD067BF4E9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D308C022-2129-4ECE-B285-149931BF12E5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68506F2-BFB8-4C60-9FC3-28184DCF41ED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908153B-635F-40E4-A586-D08F9D34A377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1546032-3ECC-4777-8C46-2F5B303E8D9D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8277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683">
          <p15:clr>
            <a:srgbClr val="FBAE40"/>
          </p15:clr>
        </p15:guide>
        <p15:guide id="8" pos="2502">
          <p15:clr>
            <a:srgbClr val="FBAE40"/>
          </p15:clr>
        </p15:guide>
        <p15:guide id="9" pos="5178">
          <p15:clr>
            <a:srgbClr val="FBAE40"/>
          </p15:clr>
        </p15:guide>
        <p15:guide id="10" pos="4997">
          <p15:clr>
            <a:srgbClr val="FBAE40"/>
          </p15:clr>
        </p15:guide>
        <p15:guide id="11" orient="horz" pos="2432">
          <p15:clr>
            <a:srgbClr val="FBAE40"/>
          </p15:clr>
        </p15:guide>
        <p15:guide id="12" orient="horz" pos="225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BFE18C7A-3960-460B-9047-B21258CA1B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17" name="Content Placeholder 7">
            <a:extLst>
              <a:ext uri="{FF2B5EF4-FFF2-40B4-BE49-F238E27FC236}">
                <a16:creationId xmlns:a16="http://schemas.microsoft.com/office/drawing/2014/main" id="{06F1B0D9-B83A-4BEC-94CD-58D1AB669A6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800" y="1409700"/>
            <a:ext cx="36648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E8E2C0A2-5F02-4929-A6FC-ED2BCA3E0915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268291" y="1409700"/>
            <a:ext cx="36648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9ED00118-BA2C-44C3-AED6-43EF40BDB87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214363" y="1409700"/>
            <a:ext cx="36648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506DE17-0BF7-4C27-8B96-D495EDAA6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3ED7763-60D6-4154-BB26-03832C1384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327824-594D-4B8B-927C-735FA02C0F39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B0A5E2B-E6E2-42E5-BB3D-7B11A844FC4E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83127D-8B8C-474A-A9ED-53D7F652E52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09EA6A3-9D1E-4E06-8E14-992015547248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561A59D-CB9C-42BF-921F-76B1F209F92A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5ED37EA-2DBC-454C-AA13-0BFCD49847EE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6128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502">
          <p15:clr>
            <a:srgbClr val="5ACBF0"/>
          </p15:clr>
        </p15:guide>
        <p15:guide id="6" pos="2683">
          <p15:clr>
            <a:srgbClr val="5ACBF0"/>
          </p15:clr>
        </p15:guide>
        <p15:guide id="7" pos="4997">
          <p15:clr>
            <a:srgbClr val="5ACBF0"/>
          </p15:clr>
        </p15:guide>
        <p15:guide id="8" pos="517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s_w_images_11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9FFA7C7F-48BF-4E6F-B84A-0C939DFA846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05445" y="1409700"/>
            <a:ext cx="2671200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3ADA6F75-22D8-4FD9-8ED7-B1D9D6FB0C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2ACFA438-EAA7-4973-B76D-D3D06987EF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05445" y="3121470"/>
            <a:ext cx="26712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32" name="Content Placeholder 24">
            <a:extLst>
              <a:ext uri="{FF2B5EF4-FFF2-40B4-BE49-F238E27FC236}">
                <a16:creationId xmlns:a16="http://schemas.microsoft.com/office/drawing/2014/main" id="{E6B5F552-2E02-4374-A0F5-82B48E55E318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05445" y="3517470"/>
            <a:ext cx="2671200" cy="2501694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33" name="Bildplatzhalter 12">
            <a:extLst>
              <a:ext uri="{FF2B5EF4-FFF2-40B4-BE49-F238E27FC236}">
                <a16:creationId xmlns:a16="http://schemas.microsoft.com/office/drawing/2014/main" id="{4D97EAC3-8771-4753-A17B-576CEB99B83B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272224" y="1408846"/>
            <a:ext cx="2671200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34" name="Bildplatzhalter 12">
            <a:extLst>
              <a:ext uri="{FF2B5EF4-FFF2-40B4-BE49-F238E27FC236}">
                <a16:creationId xmlns:a16="http://schemas.microsoft.com/office/drawing/2014/main" id="{8C8E20AC-A594-481D-A633-1D9B7A144A3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239003" y="1408846"/>
            <a:ext cx="2671200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35" name="Bildplatzhalter 12">
            <a:extLst>
              <a:ext uri="{FF2B5EF4-FFF2-40B4-BE49-F238E27FC236}">
                <a16:creationId xmlns:a16="http://schemas.microsoft.com/office/drawing/2014/main" id="{91241027-38AE-4FD6-9079-C9A9CA9820DF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205782" y="1408846"/>
            <a:ext cx="2671200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661C43B7-E05B-4954-9A32-8CEC36D418D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2224" y="3121470"/>
            <a:ext cx="26712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37" name="Content Placeholder 24">
            <a:extLst>
              <a:ext uri="{FF2B5EF4-FFF2-40B4-BE49-F238E27FC236}">
                <a16:creationId xmlns:a16="http://schemas.microsoft.com/office/drawing/2014/main" id="{3E92981E-D46C-46AE-B221-ED021B67E362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272224" y="3517470"/>
            <a:ext cx="2671200" cy="2501694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8CD4B205-309E-4E6A-A5A3-5E059604AE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39003" y="3121470"/>
            <a:ext cx="26712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39" name="Content Placeholder 24">
            <a:extLst>
              <a:ext uri="{FF2B5EF4-FFF2-40B4-BE49-F238E27FC236}">
                <a16:creationId xmlns:a16="http://schemas.microsoft.com/office/drawing/2014/main" id="{CF5F7F6E-84C1-4B2B-8D5F-9F7692FB367F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6239003" y="3517470"/>
            <a:ext cx="2671200" cy="2501694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79B374FA-6FE8-4300-99E4-03C70655114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205782" y="3121470"/>
            <a:ext cx="26712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41" name="Content Placeholder 24">
            <a:extLst>
              <a:ext uri="{FF2B5EF4-FFF2-40B4-BE49-F238E27FC236}">
                <a16:creationId xmlns:a16="http://schemas.microsoft.com/office/drawing/2014/main" id="{52611E23-9BF4-4027-BA77-DD4FFB6FD311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9205782" y="3517470"/>
            <a:ext cx="2671200" cy="2501694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1AAB9E5-E051-4564-A5B4-1121F4AFA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E8BC6B41-F2E6-42C1-8BFA-833B0879B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E9D477C1-44D1-4E7D-97B5-AA0D4F17EAF6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B433F57-3656-4392-B116-3E8081D04CCD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1CB58E91-7211-4B68-A024-A86CC225DC7F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CACD4B0-D0A5-41F5-B965-069DD2E00D1B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57AC0F9-6EB9-4595-A7BA-62A348F4BACB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650EA1A-83B6-4CCD-9BA2-91C29F4807E5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6868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876">
          <p15:clr>
            <a:srgbClr val="FBAE40"/>
          </p15:clr>
        </p15:guide>
        <p15:guide id="13" pos="2057">
          <p15:clr>
            <a:srgbClr val="FBAE40"/>
          </p15:clr>
        </p15:guide>
        <p15:guide id="14" pos="3749">
          <p15:clr>
            <a:srgbClr val="FBAE40"/>
          </p15:clr>
        </p15:guide>
        <p15:guide id="15" pos="3931">
          <p15:clr>
            <a:srgbClr val="FBAE40"/>
          </p15:clr>
        </p15:guide>
        <p15:guide id="16" pos="5617">
          <p15:clr>
            <a:srgbClr val="FBAE40"/>
          </p15:clr>
        </p15:guide>
        <p15:guide id="17" pos="5793">
          <p15:clr>
            <a:srgbClr val="FBAE40"/>
          </p15:clr>
        </p15:guide>
        <p15:guide id="19" orient="horz" pos="1794">
          <p15:clr>
            <a:srgbClr val="FBAE40"/>
          </p15:clr>
        </p15:guide>
        <p15:guide id="20" orient="horz" pos="195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ABA7E47B-E6EA-42F5-9E33-80D5ED7734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FBC7A6D-236D-4EFD-860C-D8E3FF018F4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4800" y="1409700"/>
            <a:ext cx="26712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1C4CB588-737B-4208-AE0F-E025C98D24B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274800" y="1409700"/>
            <a:ext cx="26712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/>
          </a:p>
        </p:txBody>
      </p:sp>
      <p:sp>
        <p:nvSpPr>
          <p:cNvPr id="17" name="Content Placeholder 7">
            <a:extLst>
              <a:ext uri="{FF2B5EF4-FFF2-40B4-BE49-F238E27FC236}">
                <a16:creationId xmlns:a16="http://schemas.microsoft.com/office/drawing/2014/main" id="{CC1B1315-FDE6-4A22-8F7C-50E461BBB6C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44800" y="1409700"/>
            <a:ext cx="26712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9110C939-72DF-4350-8438-6EFF4335618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206091" y="1409700"/>
            <a:ext cx="26712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78F6-96B1-4DA0-A6B2-510F6DD3E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8447E65-CF93-4E42-8B9E-C195070DB8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C7623B-C3AE-41D4-AD2D-B4E5770CB054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38727B5-F1A8-4565-A020-2DD8F2E6582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F28D808-A6BB-41DB-8ADD-56A66B09963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595176F-5D2D-4EFF-9F54-4D1CBA5C7C69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C3915EE-D7E0-4E4F-8F2E-2ED1CAEFC3CD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1B82BA5-E896-45B9-A16B-530EF377CE22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72319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76">
          <p15:clr>
            <a:srgbClr val="5ACBF0"/>
          </p15:clr>
        </p15:guide>
        <p15:guide id="7" pos="3747">
          <p15:clr>
            <a:srgbClr val="5ACBF0"/>
          </p15:clr>
        </p15:guide>
        <p15:guide id="8" pos="3933">
          <p15:clr>
            <a:srgbClr val="5ACBF0"/>
          </p15:clr>
        </p15:guide>
        <p15:guide id="9" pos="5617">
          <p15:clr>
            <a:srgbClr val="5ACBF0"/>
          </p15:clr>
        </p15:guide>
        <p15:guide id="10" pos="5793">
          <p15:clr>
            <a:srgbClr val="5ACBF0"/>
          </p15:clr>
        </p15:guide>
        <p15:guide id="11" pos="2057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_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61702B5D-6BB3-43C6-AEA7-73A7831461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20" name="Text Placeholder 55">
            <a:extLst>
              <a:ext uri="{FF2B5EF4-FFF2-40B4-BE49-F238E27FC236}">
                <a16:creationId xmlns:a16="http://schemas.microsoft.com/office/drawing/2014/main" id="{CDE67F70-1B9F-41FA-A9C6-87EA864E6B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6710" y="3968766"/>
            <a:ext cx="9919817" cy="61424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key take-away text,</a:t>
            </a:r>
          </a:p>
          <a:p>
            <a:pPr lvl="0"/>
            <a:r>
              <a:rPr lang="en-US" dirty="0"/>
              <a:t>max 2-lines</a:t>
            </a:r>
          </a:p>
        </p:txBody>
      </p:sp>
      <p:sp>
        <p:nvSpPr>
          <p:cNvPr id="22" name="Text Placeholder 55">
            <a:extLst>
              <a:ext uri="{FF2B5EF4-FFF2-40B4-BE49-F238E27FC236}">
                <a16:creationId xmlns:a16="http://schemas.microsoft.com/office/drawing/2014/main" id="{0F38E441-F23E-4694-9FB1-2BDE76D19A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6710" y="4684663"/>
            <a:ext cx="9919817" cy="61424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key take-away text,</a:t>
            </a:r>
          </a:p>
          <a:p>
            <a:pPr lvl="0"/>
            <a:r>
              <a:rPr lang="en-US" dirty="0"/>
              <a:t>max 2-lines</a:t>
            </a:r>
          </a:p>
        </p:txBody>
      </p:sp>
      <p:sp>
        <p:nvSpPr>
          <p:cNvPr id="34" name="Text Placeholder 55">
            <a:extLst>
              <a:ext uri="{FF2B5EF4-FFF2-40B4-BE49-F238E27FC236}">
                <a16:creationId xmlns:a16="http://schemas.microsoft.com/office/drawing/2014/main" id="{CB7DFD59-1F6B-4C39-A225-AF3C55889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6710" y="3256143"/>
            <a:ext cx="9919817" cy="61456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key take-away text,</a:t>
            </a:r>
          </a:p>
          <a:p>
            <a:pPr lvl="0"/>
            <a:r>
              <a:rPr lang="en-US" dirty="0"/>
              <a:t>max 2-lines</a:t>
            </a:r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C052E13-A0A3-40B8-9E88-4AC147DA3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6710" y="3916137"/>
            <a:ext cx="9919817" cy="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0"/>
              </a:lnSpc>
              <a:spcAft>
                <a:spcPts val="0"/>
              </a:spcAft>
              <a:buNone/>
              <a:defRPr lang="en-US" sz="400">
                <a:solidFill>
                  <a:schemeClr val="accent2">
                    <a:lumMod val="40000"/>
                    <a:lumOff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 dirty="0"/>
              <a:t> </a:t>
            </a:r>
          </a:p>
        </p:txBody>
      </p:sp>
      <p:sp>
        <p:nvSpPr>
          <p:cNvPr id="36" name="Text Placeholder 18">
            <a:extLst>
              <a:ext uri="{FF2B5EF4-FFF2-40B4-BE49-F238E27FC236}">
                <a16:creationId xmlns:a16="http://schemas.microsoft.com/office/drawing/2014/main" id="{27097F0B-45DB-4C1A-8209-EE483A848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6710" y="4628434"/>
            <a:ext cx="9919817" cy="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0"/>
              </a:lnSpc>
              <a:spcAft>
                <a:spcPts val="0"/>
              </a:spcAft>
              <a:buNone/>
              <a:defRPr lang="en-US" sz="400">
                <a:solidFill>
                  <a:schemeClr val="accent2">
                    <a:lumMod val="40000"/>
                    <a:lumOff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 dirty="0"/>
              <a:t> 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B1A86996-A6BD-474D-8464-75EB5416BB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0153" y="3347426"/>
            <a:ext cx="432000" cy="432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 marL="0" indent="0">
              <a:buNone/>
              <a:defRPr lang="en-US" sz="1400" b="1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algn="ctr">
              <a:spcBef>
                <a:spcPts val="0"/>
              </a:spcBef>
            </a:pPr>
            <a:r>
              <a:rPr lang="en-US" dirty="0"/>
              <a:t>1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0F5AC866-0C0D-4AE9-AB84-8F89A0D30C8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153" y="4059886"/>
            <a:ext cx="432000" cy="432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 marL="0" indent="0">
              <a:buNone/>
              <a:defRPr lang="en-US" sz="1400" b="1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algn="ctr">
              <a:spcBef>
                <a:spcPts val="0"/>
              </a:spcBef>
            </a:pPr>
            <a:r>
              <a:rPr lang="en-US" dirty="0"/>
              <a:t>1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D52EEA49-9DD6-49EB-964D-8B5EA66269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0153" y="4775783"/>
            <a:ext cx="432000" cy="432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 marL="0" indent="0">
              <a:buNone/>
              <a:defRPr lang="en-US" sz="1400" b="1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algn="ctr">
              <a:spcBef>
                <a:spcPts val="0"/>
              </a:spcBef>
            </a:pPr>
            <a:r>
              <a:rPr lang="en-US" dirty="0"/>
              <a:t>1</a:t>
            </a:r>
          </a:p>
        </p:txBody>
      </p:sp>
      <p:sp>
        <p:nvSpPr>
          <p:cNvPr id="40" name="Text Placeholder 55">
            <a:extLst>
              <a:ext uri="{FF2B5EF4-FFF2-40B4-BE49-F238E27FC236}">
                <a16:creationId xmlns:a16="http://schemas.microsoft.com/office/drawing/2014/main" id="{51C75CEE-B5D2-4C5B-98D7-AA41C0C8BC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16710" y="5400561"/>
            <a:ext cx="9919817" cy="61424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key take-away text,</a:t>
            </a:r>
          </a:p>
          <a:p>
            <a:pPr lvl="0"/>
            <a:r>
              <a:rPr lang="en-US" dirty="0"/>
              <a:t>max 2-lin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3C85DD0D-30E7-4C57-BC47-DB166B1BEDE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16710" y="5344331"/>
            <a:ext cx="9919817" cy="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0"/>
              </a:lnSpc>
              <a:spcAft>
                <a:spcPts val="0"/>
              </a:spcAft>
              <a:buNone/>
              <a:defRPr lang="en-US" sz="400">
                <a:solidFill>
                  <a:schemeClr val="accent2">
                    <a:lumMod val="40000"/>
                    <a:lumOff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 dirty="0"/>
              <a:t> 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FF7941CF-EFDE-44D4-A54F-FED7CB7038E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0153" y="5491681"/>
            <a:ext cx="432000" cy="432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 marL="0" indent="0">
              <a:buNone/>
              <a:defRPr lang="en-US" sz="1400" b="1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algn="ctr">
              <a:spcBef>
                <a:spcPts val="0"/>
              </a:spcBef>
            </a:pPr>
            <a:r>
              <a:rPr lang="en-US" dirty="0"/>
              <a:t>1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1BAF550-1E9C-4160-8C92-A92B2577744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04800" y="1409699"/>
            <a:ext cx="11580813" cy="176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Picture</a:t>
            </a:r>
            <a:endParaRPr lang="en-IN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F7F95E6-44CA-4031-A4D2-8006BF6A3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1C94A74-90DB-433F-8711-9C8244A0D27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6391170-83BD-4010-B25B-8880FFC4F356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89277C6-6B2C-4EA0-9C3C-358457F0FF59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C15EA21-2E67-4A39-9189-0FB1EDC22D36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BAE0B2F-01E8-4C62-B765-ADC33D45DCB2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1E056A19-5692-4743-8729-2A81A59BDEE1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3DE2DA1-1B1E-4189-892F-D0FA325793A5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369981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_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07972" y="3880811"/>
            <a:ext cx="5637600" cy="3429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72000" tIns="72000" rIns="72000" bIns="72000" rtlCol="0"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00025" lvl="0" indent="-200025"/>
            <a:r>
              <a:rPr lang="en-US" dirty="0"/>
              <a:t>Heading, 14pts, bold, sentence case</a:t>
            </a:r>
          </a:p>
        </p:txBody>
      </p:sp>
      <p:sp>
        <p:nvSpPr>
          <p:cNvPr id="51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243773" y="3880811"/>
            <a:ext cx="5637600" cy="3429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72000" tIns="72000" rIns="72000" bIns="72000" rtlCol="0"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00025" lvl="0" indent="-200025"/>
            <a:r>
              <a:rPr lang="en-US" dirty="0"/>
              <a:t>Heading, 14pts, bold, sentence case</a:t>
            </a:r>
          </a:p>
        </p:txBody>
      </p:sp>
      <p:sp>
        <p:nvSpPr>
          <p:cNvPr id="41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307972" y="1434414"/>
            <a:ext cx="5637600" cy="3429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72000" tIns="72000" rIns="72000" bIns="72000" rtlCol="0"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00025" lvl="0" indent="-200025"/>
            <a:r>
              <a:rPr lang="en-US" dirty="0"/>
              <a:t>Heading, 14pts, bold, sentence case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16"/>
          </p:nvPr>
        </p:nvSpPr>
        <p:spPr>
          <a:xfrm>
            <a:off x="304799" y="1409700"/>
            <a:ext cx="5637600" cy="27432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00" b="0">
                <a:solidFill>
                  <a:schemeClr val="accent2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19"/>
          </p:nvPr>
        </p:nvSpPr>
        <p:spPr>
          <a:xfrm>
            <a:off x="304799" y="3858929"/>
            <a:ext cx="5637600" cy="27432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" b="0">
                <a:solidFill>
                  <a:schemeClr val="accent2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48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243773" y="1434414"/>
            <a:ext cx="5637600" cy="3429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72000" tIns="72000" rIns="72000" bIns="72000" rtlCol="0"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00025" lvl="0" indent="-200025"/>
            <a:r>
              <a:rPr lang="en-US" dirty="0"/>
              <a:t>Heading, 14pts, bold, sentence case</a:t>
            </a:r>
          </a:p>
        </p:txBody>
      </p:sp>
      <p:sp>
        <p:nvSpPr>
          <p:cNvPr id="49" name="Text Placeholder 18"/>
          <p:cNvSpPr>
            <a:spLocks noGrp="1"/>
          </p:cNvSpPr>
          <p:nvPr>
            <p:ph type="body" sz="quarter" idx="22"/>
          </p:nvPr>
        </p:nvSpPr>
        <p:spPr>
          <a:xfrm>
            <a:off x="6243773" y="1409700"/>
            <a:ext cx="5637600" cy="27432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00" b="0">
                <a:solidFill>
                  <a:schemeClr val="accent2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52" name="Text Placeholder 18"/>
          <p:cNvSpPr>
            <a:spLocks noGrp="1"/>
          </p:cNvSpPr>
          <p:nvPr>
            <p:ph type="body" sz="quarter" idx="25"/>
          </p:nvPr>
        </p:nvSpPr>
        <p:spPr>
          <a:xfrm>
            <a:off x="6243773" y="3858929"/>
            <a:ext cx="5637600" cy="27432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" b="0">
                <a:solidFill>
                  <a:schemeClr val="accent2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D2C962C0-7721-476A-876D-60BDE23707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9644693-51FC-4EC5-B3CE-BE1007EFAD21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04801" y="1804376"/>
            <a:ext cx="5637600" cy="1764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6" name="Content Placeholder 7">
            <a:extLst>
              <a:ext uri="{FF2B5EF4-FFF2-40B4-BE49-F238E27FC236}">
                <a16:creationId xmlns:a16="http://schemas.microsoft.com/office/drawing/2014/main" id="{E2A3177D-D917-491E-BB6F-CEFA0934E75E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43773" y="1804376"/>
            <a:ext cx="5637600" cy="1764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id="{4DF14464-E845-4A43-B013-D714069D38A4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304801" y="4251962"/>
            <a:ext cx="5637600" cy="1764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984F3592-86F3-4350-B2A5-6DB76C33691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243773" y="4251962"/>
            <a:ext cx="5637600" cy="1764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2E47D4-643E-4015-8295-093D9DD2E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81F9410-4FD4-41C2-A86D-2DB9F92F34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6A9F5832-D9EE-48CC-BC03-4FA8C62443E9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97A86AC-8C94-40CD-8A51-36CC6FD2BD15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DEF4776-22AF-4B2E-BE8A-BAD626B47275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A2939FF-CD8A-4058-8423-1DCBF47FEF9C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16D5EE4-4809-41C3-B18B-6D91DB34B6AD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4025F17C-AF22-4E8B-A185-6A88DB8EF4AE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37149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2432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5"/>
          <p:cNvSpPr>
            <a:spLocks noGrp="1"/>
          </p:cNvSpPr>
          <p:nvPr>
            <p:ph type="body" sz="quarter" idx="42" hasCustomPrompt="1"/>
          </p:nvPr>
        </p:nvSpPr>
        <p:spPr>
          <a:xfrm>
            <a:off x="6736793" y="2493975"/>
            <a:ext cx="4495321" cy="7969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ctr"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Verdana"/>
              </a:defRPr>
            </a:lvl1pPr>
          </a:lstStyle>
          <a:p>
            <a:pPr marR="0" lvl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enter align content</a:t>
            </a:r>
          </a:p>
        </p:txBody>
      </p:sp>
      <p:sp>
        <p:nvSpPr>
          <p:cNvPr id="89" name="Text Placeholder 55"/>
          <p:cNvSpPr>
            <a:spLocks noGrp="1"/>
          </p:cNvSpPr>
          <p:nvPr>
            <p:ph type="body" sz="quarter" idx="45" hasCustomPrompt="1"/>
          </p:nvPr>
        </p:nvSpPr>
        <p:spPr>
          <a:xfrm>
            <a:off x="6736793" y="3494909"/>
            <a:ext cx="4495321" cy="7969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ctr"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Verdana"/>
              </a:defRPr>
            </a:lvl1pPr>
          </a:lstStyle>
          <a:p>
            <a:pPr marR="0" lvl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enter align content</a:t>
            </a:r>
          </a:p>
        </p:txBody>
      </p:sp>
      <p:sp>
        <p:nvSpPr>
          <p:cNvPr id="31" name="Text Placeholder 55">
            <a:extLst>
              <a:ext uri="{FF2B5EF4-FFF2-40B4-BE49-F238E27FC236}">
                <a16:creationId xmlns:a16="http://schemas.microsoft.com/office/drawing/2014/main" id="{5818D1CC-01F1-4E89-9DA7-7DE45FF57E5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736793" y="1493041"/>
            <a:ext cx="4495321" cy="7969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ctr"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Verdana"/>
              </a:defRPr>
            </a:lvl1pPr>
          </a:lstStyle>
          <a:p>
            <a:pPr marR="0" lvl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enter align content</a:t>
            </a:r>
          </a:p>
        </p:txBody>
      </p:sp>
      <p:sp>
        <p:nvSpPr>
          <p:cNvPr id="57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959804" y="1789647"/>
            <a:ext cx="4496400" cy="574516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171450" indent="-171450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200" b="0" dirty="0"/>
            </a:lvl1pPr>
          </a:lstStyle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</p:txBody>
      </p:sp>
      <p:sp>
        <p:nvSpPr>
          <p:cNvPr id="59" name="Text Placeholder 55"/>
          <p:cNvSpPr>
            <a:spLocks noGrp="1"/>
          </p:cNvSpPr>
          <p:nvPr>
            <p:ph type="body" sz="quarter" idx="31" hasCustomPrompt="1"/>
          </p:nvPr>
        </p:nvSpPr>
        <p:spPr>
          <a:xfrm>
            <a:off x="959804" y="1485900"/>
            <a:ext cx="4496400" cy="289694"/>
          </a:xfrm>
          <a:prstGeom prst="rect">
            <a:avLst/>
          </a:prstGeom>
        </p:spPr>
        <p:txBody>
          <a:bodyPr lIns="72000" tIns="7200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Heading, max 1-line</a:t>
            </a:r>
          </a:p>
        </p:txBody>
      </p:sp>
      <p:sp>
        <p:nvSpPr>
          <p:cNvPr id="6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59805" y="2590653"/>
            <a:ext cx="4496400" cy="144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4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62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959805" y="3826033"/>
            <a:ext cx="4496400" cy="144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4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63" name="Text Placeholder 55"/>
          <p:cNvSpPr>
            <a:spLocks noGrp="1"/>
          </p:cNvSpPr>
          <p:nvPr>
            <p:ph type="body" sz="quarter" idx="33" hasCustomPrompt="1"/>
          </p:nvPr>
        </p:nvSpPr>
        <p:spPr>
          <a:xfrm>
            <a:off x="959804" y="3043827"/>
            <a:ext cx="4496400" cy="574516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171450" indent="-171450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200" b="0" dirty="0"/>
            </a:lvl1pPr>
          </a:lstStyle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</p:txBody>
      </p:sp>
      <p:sp>
        <p:nvSpPr>
          <p:cNvPr id="65" name="Text Placeholder 55"/>
          <p:cNvSpPr>
            <a:spLocks noGrp="1"/>
          </p:cNvSpPr>
          <p:nvPr>
            <p:ph type="body" sz="quarter" idx="35" hasCustomPrompt="1"/>
          </p:nvPr>
        </p:nvSpPr>
        <p:spPr>
          <a:xfrm>
            <a:off x="959804" y="2740080"/>
            <a:ext cx="4496400" cy="289694"/>
          </a:xfrm>
          <a:prstGeom prst="rect">
            <a:avLst/>
          </a:prstGeom>
        </p:spPr>
        <p:txBody>
          <a:bodyPr lIns="72000" tIns="7200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Heading, max 1-line</a:t>
            </a:r>
          </a:p>
        </p:txBody>
      </p:sp>
      <p:sp>
        <p:nvSpPr>
          <p:cNvPr id="66" name="Text Placeholder 55"/>
          <p:cNvSpPr>
            <a:spLocks noGrp="1"/>
          </p:cNvSpPr>
          <p:nvPr>
            <p:ph type="body" sz="quarter" idx="36" hasCustomPrompt="1"/>
          </p:nvPr>
        </p:nvSpPr>
        <p:spPr>
          <a:xfrm>
            <a:off x="959804" y="4288778"/>
            <a:ext cx="4496400" cy="574516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171450" indent="-171450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200" b="0" dirty="0"/>
            </a:lvl1pPr>
          </a:lstStyle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</p:txBody>
      </p:sp>
      <p:sp>
        <p:nvSpPr>
          <p:cNvPr id="68" name="Text Placeholder 55"/>
          <p:cNvSpPr>
            <a:spLocks noGrp="1"/>
          </p:cNvSpPr>
          <p:nvPr>
            <p:ph type="body" sz="quarter" idx="38" hasCustomPrompt="1"/>
          </p:nvPr>
        </p:nvSpPr>
        <p:spPr>
          <a:xfrm>
            <a:off x="959804" y="3985031"/>
            <a:ext cx="4496400" cy="289694"/>
          </a:xfrm>
          <a:prstGeom prst="rect">
            <a:avLst/>
          </a:prstGeom>
        </p:spPr>
        <p:txBody>
          <a:bodyPr lIns="72000" tIns="7200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Heading, max 1-line</a:t>
            </a:r>
          </a:p>
        </p:txBody>
      </p:sp>
      <p:sp>
        <p:nvSpPr>
          <p:cNvPr id="92" name="Text Placeholder 55"/>
          <p:cNvSpPr>
            <a:spLocks noGrp="1"/>
          </p:cNvSpPr>
          <p:nvPr>
            <p:ph type="body" sz="quarter" idx="48" hasCustomPrompt="1"/>
          </p:nvPr>
        </p:nvSpPr>
        <p:spPr>
          <a:xfrm>
            <a:off x="6736793" y="4495844"/>
            <a:ext cx="4495321" cy="796994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ctr"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Verdana"/>
              </a:defRPr>
            </a:lvl1pPr>
          </a:lstStyle>
          <a:p>
            <a:pPr marR="0" lvl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enter align content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C8219C8F-5307-4848-8D09-C5C7BFF72D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29" name="Picture Placeholder 74">
            <a:extLst>
              <a:ext uri="{FF2B5EF4-FFF2-40B4-BE49-F238E27FC236}">
                <a16:creationId xmlns:a16="http://schemas.microsoft.com/office/drawing/2014/main" id="{E136389E-F509-472F-97A0-648694CC2FA4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66981" y="1478166"/>
            <a:ext cx="541895" cy="540946"/>
          </a:xfrm>
          <a:prstGeom prst="ellipse">
            <a:avLst/>
          </a:prstGeom>
          <a:noFill/>
          <a:ln w="12700"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ct val="0"/>
              </a:lnSpc>
              <a:spcBef>
                <a:spcPts val="0"/>
              </a:spcBef>
              <a:buNone/>
              <a:defRPr sz="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0" name="Picture Placeholder 74">
            <a:extLst>
              <a:ext uri="{FF2B5EF4-FFF2-40B4-BE49-F238E27FC236}">
                <a16:creationId xmlns:a16="http://schemas.microsoft.com/office/drawing/2014/main" id="{74FC4A38-4100-45A0-B034-C7BC107C807F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66981" y="2696786"/>
            <a:ext cx="541895" cy="540946"/>
          </a:xfrm>
          <a:prstGeom prst="ellipse">
            <a:avLst/>
          </a:prstGeom>
          <a:noFill/>
          <a:ln w="12700"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ct val="0"/>
              </a:lnSpc>
              <a:spcBef>
                <a:spcPts val="0"/>
              </a:spcBef>
              <a:buNone/>
              <a:defRPr sz="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6" name="Picture Placeholder 74">
            <a:extLst>
              <a:ext uri="{FF2B5EF4-FFF2-40B4-BE49-F238E27FC236}">
                <a16:creationId xmlns:a16="http://schemas.microsoft.com/office/drawing/2014/main" id="{F7F83630-8722-472E-824F-52F06F05A5F0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66981" y="3959517"/>
            <a:ext cx="541895" cy="540946"/>
          </a:xfrm>
          <a:prstGeom prst="ellipse">
            <a:avLst/>
          </a:prstGeom>
          <a:noFill/>
          <a:ln w="12700"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ct val="0"/>
              </a:lnSpc>
              <a:spcBef>
                <a:spcPts val="0"/>
              </a:spcBef>
              <a:buNone/>
              <a:defRPr sz="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7CA668C-7D89-42AA-A005-5605FA5E0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 dirty="0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ED28D565-3805-430E-88A2-8B12E11667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2A2DD26-495E-48DF-83BA-E3C12C18915F}"/>
              </a:ext>
            </a:extLst>
          </p:cNvPr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0D248F2-9CAA-4B6E-B301-460CDABCA9D7}"/>
              </a:ext>
            </a:extLst>
          </p:cNvPr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A281DC7-FA13-4FC9-AA94-4F1C0A2F87D3}"/>
              </a:ext>
            </a:extLst>
          </p:cNvPr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C7D64A6-639B-44F3-9651-F69D0DBD35B3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CC0D733-6DD0-4BA9-B36A-9DD24E8AA04C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F9B87E1-092F-4132-8B8B-5682F9F558E7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41707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>
          <p15:clr>
            <a:srgbClr val="5ACBF0"/>
          </p15:clr>
        </p15:guide>
        <p15:guide id="2" pos="3749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04616F7-EB75-470F-97F3-9FE937670F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wrap="square" lIns="7200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 b="0">
                <a:solidFill>
                  <a:schemeClr val="accent4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F922B2-E7C7-42AE-936D-F6D27B4E625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E71C112-73E0-45C5-BF58-64ED71EE31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3B34E-EE2E-4CDD-8C92-61F307C900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566F18A-4D56-4FB0-8F78-601BA9236FBE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B373A09-3116-4AA5-8EDA-DD7E35167886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D7FCF9-B0B8-4368-A088-FC58B5815003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701653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_cover_Pulse/Phot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30">
            <a:extLst>
              <a:ext uri="{FF2B5EF4-FFF2-40B4-BE49-F238E27FC236}">
                <a16:creationId xmlns:a16="http://schemas.microsoft.com/office/drawing/2014/main" id="{325FF1FE-BC57-44EB-802D-0F01FA0176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487" r="-16585"/>
          <a:stretch/>
        </p:blipFill>
        <p:spPr>
          <a:xfrm>
            <a:off x="370250" y="2047399"/>
            <a:ext cx="5686847" cy="3810882"/>
          </a:xfrm>
          <a:prstGeom prst="rect">
            <a:avLst/>
          </a:prstGeom>
        </p:spPr>
      </p:pic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BD047201-73A1-4321-8DDF-141EF9229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927350"/>
          </a:xfrm>
          <a:custGeom>
            <a:avLst/>
            <a:gdLst>
              <a:gd name="connsiteX0" fmla="*/ 0 w 12192000"/>
              <a:gd name="connsiteY0" fmla="*/ 0 h 2927350"/>
              <a:gd name="connsiteX1" fmla="*/ 12192000 w 12192000"/>
              <a:gd name="connsiteY1" fmla="*/ 0 h 2927350"/>
              <a:gd name="connsiteX2" fmla="*/ 12192000 w 12192000"/>
              <a:gd name="connsiteY2" fmla="*/ 2927350 h 2927350"/>
              <a:gd name="connsiteX3" fmla="*/ 5207034 w 12192000"/>
              <a:gd name="connsiteY3" fmla="*/ 2927350 h 2927350"/>
              <a:gd name="connsiteX4" fmla="*/ 5205492 w 12192000"/>
              <a:gd name="connsiteY4" fmla="*/ 2921483 h 2927350"/>
              <a:gd name="connsiteX5" fmla="*/ 4794801 w 12192000"/>
              <a:gd name="connsiteY5" fmla="*/ 2440718 h 2927350"/>
              <a:gd name="connsiteX6" fmla="*/ 3558421 w 12192000"/>
              <a:gd name="connsiteY6" fmla="*/ 2491179 h 2927350"/>
              <a:gd name="connsiteX7" fmla="*/ 2481369 w 12192000"/>
              <a:gd name="connsiteY7" fmla="*/ 2137948 h 2927350"/>
              <a:gd name="connsiteX8" fmla="*/ 1098408 w 12192000"/>
              <a:gd name="connsiteY8" fmla="*/ 2916949 h 2927350"/>
              <a:gd name="connsiteX9" fmla="*/ 1096940 w 12192000"/>
              <a:gd name="connsiteY9" fmla="*/ 2927350 h 2927350"/>
              <a:gd name="connsiteX10" fmla="*/ 0 w 12192000"/>
              <a:gd name="connsiteY10" fmla="*/ 2927350 h 2927350"/>
              <a:gd name="connsiteX0" fmla="*/ 0 w 12192000"/>
              <a:gd name="connsiteY0" fmla="*/ 0 h 2927350"/>
              <a:gd name="connsiteX1" fmla="*/ 12192000 w 12192000"/>
              <a:gd name="connsiteY1" fmla="*/ 0 h 2927350"/>
              <a:gd name="connsiteX2" fmla="*/ 12192000 w 12192000"/>
              <a:gd name="connsiteY2" fmla="*/ 2927350 h 2927350"/>
              <a:gd name="connsiteX3" fmla="*/ 5207034 w 12192000"/>
              <a:gd name="connsiteY3" fmla="*/ 2927350 h 2927350"/>
              <a:gd name="connsiteX4" fmla="*/ 5205492 w 12192000"/>
              <a:gd name="connsiteY4" fmla="*/ 2921483 h 2927350"/>
              <a:gd name="connsiteX5" fmla="*/ 4794801 w 12192000"/>
              <a:gd name="connsiteY5" fmla="*/ 2440718 h 2927350"/>
              <a:gd name="connsiteX6" fmla="*/ 3558421 w 12192000"/>
              <a:gd name="connsiteY6" fmla="*/ 2491179 h 2927350"/>
              <a:gd name="connsiteX7" fmla="*/ 2481369 w 12192000"/>
              <a:gd name="connsiteY7" fmla="*/ 2137948 h 2927350"/>
              <a:gd name="connsiteX8" fmla="*/ 1098408 w 12192000"/>
              <a:gd name="connsiteY8" fmla="*/ 2916949 h 2927350"/>
              <a:gd name="connsiteX9" fmla="*/ 1092178 w 12192000"/>
              <a:gd name="connsiteY9" fmla="*/ 2927350 h 2927350"/>
              <a:gd name="connsiteX10" fmla="*/ 0 w 12192000"/>
              <a:gd name="connsiteY10" fmla="*/ 2927350 h 2927350"/>
              <a:gd name="connsiteX11" fmla="*/ 0 w 12192000"/>
              <a:gd name="connsiteY11" fmla="*/ 0 h 2927350"/>
              <a:gd name="connsiteX0" fmla="*/ 0 w 12192000"/>
              <a:gd name="connsiteY0" fmla="*/ 0 h 2927350"/>
              <a:gd name="connsiteX1" fmla="*/ 12192000 w 12192000"/>
              <a:gd name="connsiteY1" fmla="*/ 0 h 2927350"/>
              <a:gd name="connsiteX2" fmla="*/ 12192000 w 12192000"/>
              <a:gd name="connsiteY2" fmla="*/ 2927350 h 2927350"/>
              <a:gd name="connsiteX3" fmla="*/ 5207034 w 12192000"/>
              <a:gd name="connsiteY3" fmla="*/ 2927350 h 2927350"/>
              <a:gd name="connsiteX4" fmla="*/ 5205492 w 12192000"/>
              <a:gd name="connsiteY4" fmla="*/ 2921483 h 2927350"/>
              <a:gd name="connsiteX5" fmla="*/ 4794801 w 12192000"/>
              <a:gd name="connsiteY5" fmla="*/ 2440718 h 2927350"/>
              <a:gd name="connsiteX6" fmla="*/ 3558421 w 12192000"/>
              <a:gd name="connsiteY6" fmla="*/ 2491179 h 2927350"/>
              <a:gd name="connsiteX7" fmla="*/ 2481369 w 12192000"/>
              <a:gd name="connsiteY7" fmla="*/ 2137948 h 2927350"/>
              <a:gd name="connsiteX8" fmla="*/ 1098408 w 12192000"/>
              <a:gd name="connsiteY8" fmla="*/ 2916949 h 2927350"/>
              <a:gd name="connsiteX9" fmla="*/ 1094559 w 12192000"/>
              <a:gd name="connsiteY9" fmla="*/ 2927350 h 2927350"/>
              <a:gd name="connsiteX10" fmla="*/ 0 w 12192000"/>
              <a:gd name="connsiteY10" fmla="*/ 2927350 h 2927350"/>
              <a:gd name="connsiteX11" fmla="*/ 0 w 12192000"/>
              <a:gd name="connsiteY11" fmla="*/ 0 h 292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2927350">
                <a:moveTo>
                  <a:pt x="0" y="0"/>
                </a:moveTo>
                <a:lnTo>
                  <a:pt x="12192000" y="0"/>
                </a:lnTo>
                <a:lnTo>
                  <a:pt x="12192000" y="2927350"/>
                </a:lnTo>
                <a:lnTo>
                  <a:pt x="5207034" y="2927350"/>
                </a:lnTo>
                <a:lnTo>
                  <a:pt x="5205492" y="2921483"/>
                </a:lnTo>
                <a:cubicBezTo>
                  <a:pt x="5139396" y="2733730"/>
                  <a:pt x="5017063" y="2549525"/>
                  <a:pt x="4794801" y="2440718"/>
                </a:cubicBezTo>
                <a:cubicBezTo>
                  <a:pt x="4425161" y="2257794"/>
                  <a:pt x="3905755" y="2409179"/>
                  <a:pt x="3558421" y="2491179"/>
                </a:cubicBezTo>
                <a:cubicBezTo>
                  <a:pt x="3204715" y="2573179"/>
                  <a:pt x="2694867" y="2238871"/>
                  <a:pt x="2481369" y="2137948"/>
                </a:cubicBezTo>
                <a:cubicBezTo>
                  <a:pt x="1837687" y="1838332"/>
                  <a:pt x="1225870" y="2286179"/>
                  <a:pt x="1098408" y="2916949"/>
                </a:cubicBezTo>
                <a:lnTo>
                  <a:pt x="1094559" y="2927350"/>
                </a:lnTo>
                <a:lnTo>
                  <a:pt x="0" y="2927350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4EBF4189-4941-4CB6-8FD3-D6748C7CD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1212" y="3132000"/>
            <a:ext cx="7845552" cy="1344042"/>
          </a:xfrm>
        </p:spPr>
        <p:txBody>
          <a:bodyPr anchor="ctr"/>
          <a:lstStyle>
            <a:lvl1pPr>
              <a:lnSpc>
                <a:spcPct val="100000"/>
              </a:lnSpc>
              <a:defRPr sz="2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06EFD51-72CD-4178-BE76-B6C74464B07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671212" y="4608000"/>
            <a:ext cx="7845552" cy="42964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2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(Author, Date and Location) edit here</a:t>
            </a:r>
          </a:p>
        </p:txBody>
      </p:sp>
    </p:spTree>
    <p:extLst>
      <p:ext uri="{BB962C8B-B14F-4D97-AF65-F5344CB8AC3E}">
        <p14:creationId xmlns:p14="http://schemas.microsoft.com/office/powerpoint/2010/main" val="754051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C7507BE-28BB-4BC7-B2C4-9C02AD519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2375" y="1754760"/>
            <a:ext cx="6991881" cy="1512168"/>
          </a:xfrm>
        </p:spPr>
        <p:txBody>
          <a:bodyPr lIns="0" anchor="ctr"/>
          <a:lstStyle>
            <a:lvl1pPr>
              <a:defRPr lang="de-DE" sz="2200" b="1" i="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Add cover titl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4DFC2A0-06FD-4669-B5C9-BB5967E70C3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552373" y="3440793"/>
            <a:ext cx="6991200" cy="24841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accent2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(Author, Date and Location) edit here</a:t>
            </a:r>
          </a:p>
        </p:txBody>
      </p:sp>
    </p:spTree>
    <p:extLst>
      <p:ext uri="{BB962C8B-B14F-4D97-AF65-F5344CB8AC3E}">
        <p14:creationId xmlns:p14="http://schemas.microsoft.com/office/powerpoint/2010/main" val="38316869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Pulse/Photo_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BD047201-73A1-4321-8DDF-141EF9229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927350"/>
          </a:xfrm>
          <a:custGeom>
            <a:avLst/>
            <a:gdLst>
              <a:gd name="connsiteX0" fmla="*/ 0 w 12192000"/>
              <a:gd name="connsiteY0" fmla="*/ 0 h 2927350"/>
              <a:gd name="connsiteX1" fmla="*/ 12192000 w 12192000"/>
              <a:gd name="connsiteY1" fmla="*/ 0 h 2927350"/>
              <a:gd name="connsiteX2" fmla="*/ 12192000 w 12192000"/>
              <a:gd name="connsiteY2" fmla="*/ 2927350 h 2927350"/>
              <a:gd name="connsiteX3" fmla="*/ 5207034 w 12192000"/>
              <a:gd name="connsiteY3" fmla="*/ 2927350 h 2927350"/>
              <a:gd name="connsiteX4" fmla="*/ 5205492 w 12192000"/>
              <a:gd name="connsiteY4" fmla="*/ 2921483 h 2927350"/>
              <a:gd name="connsiteX5" fmla="*/ 4794801 w 12192000"/>
              <a:gd name="connsiteY5" fmla="*/ 2440718 h 2927350"/>
              <a:gd name="connsiteX6" fmla="*/ 3558421 w 12192000"/>
              <a:gd name="connsiteY6" fmla="*/ 2491179 h 2927350"/>
              <a:gd name="connsiteX7" fmla="*/ 2481369 w 12192000"/>
              <a:gd name="connsiteY7" fmla="*/ 2137948 h 2927350"/>
              <a:gd name="connsiteX8" fmla="*/ 1098408 w 12192000"/>
              <a:gd name="connsiteY8" fmla="*/ 2916949 h 2927350"/>
              <a:gd name="connsiteX9" fmla="*/ 1096940 w 12192000"/>
              <a:gd name="connsiteY9" fmla="*/ 2927350 h 2927350"/>
              <a:gd name="connsiteX10" fmla="*/ 0 w 12192000"/>
              <a:gd name="connsiteY10" fmla="*/ 2927350 h 2927350"/>
              <a:gd name="connsiteX0" fmla="*/ 0 w 12192000"/>
              <a:gd name="connsiteY0" fmla="*/ 0 h 2927350"/>
              <a:gd name="connsiteX1" fmla="*/ 12192000 w 12192000"/>
              <a:gd name="connsiteY1" fmla="*/ 0 h 2927350"/>
              <a:gd name="connsiteX2" fmla="*/ 12192000 w 12192000"/>
              <a:gd name="connsiteY2" fmla="*/ 2927350 h 2927350"/>
              <a:gd name="connsiteX3" fmla="*/ 5207034 w 12192000"/>
              <a:gd name="connsiteY3" fmla="*/ 2927350 h 2927350"/>
              <a:gd name="connsiteX4" fmla="*/ 5205492 w 12192000"/>
              <a:gd name="connsiteY4" fmla="*/ 2921483 h 2927350"/>
              <a:gd name="connsiteX5" fmla="*/ 4794801 w 12192000"/>
              <a:gd name="connsiteY5" fmla="*/ 2440718 h 2927350"/>
              <a:gd name="connsiteX6" fmla="*/ 3558421 w 12192000"/>
              <a:gd name="connsiteY6" fmla="*/ 2491179 h 2927350"/>
              <a:gd name="connsiteX7" fmla="*/ 2481369 w 12192000"/>
              <a:gd name="connsiteY7" fmla="*/ 2137948 h 2927350"/>
              <a:gd name="connsiteX8" fmla="*/ 1098408 w 12192000"/>
              <a:gd name="connsiteY8" fmla="*/ 2916949 h 2927350"/>
              <a:gd name="connsiteX9" fmla="*/ 1092178 w 12192000"/>
              <a:gd name="connsiteY9" fmla="*/ 2927350 h 2927350"/>
              <a:gd name="connsiteX10" fmla="*/ 0 w 12192000"/>
              <a:gd name="connsiteY10" fmla="*/ 2927350 h 2927350"/>
              <a:gd name="connsiteX11" fmla="*/ 0 w 12192000"/>
              <a:gd name="connsiteY11" fmla="*/ 0 h 2927350"/>
              <a:gd name="connsiteX0" fmla="*/ 0 w 12192000"/>
              <a:gd name="connsiteY0" fmla="*/ 0 h 2927350"/>
              <a:gd name="connsiteX1" fmla="*/ 12192000 w 12192000"/>
              <a:gd name="connsiteY1" fmla="*/ 0 h 2927350"/>
              <a:gd name="connsiteX2" fmla="*/ 12192000 w 12192000"/>
              <a:gd name="connsiteY2" fmla="*/ 2927350 h 2927350"/>
              <a:gd name="connsiteX3" fmla="*/ 5207034 w 12192000"/>
              <a:gd name="connsiteY3" fmla="*/ 2927350 h 2927350"/>
              <a:gd name="connsiteX4" fmla="*/ 5205492 w 12192000"/>
              <a:gd name="connsiteY4" fmla="*/ 2921483 h 2927350"/>
              <a:gd name="connsiteX5" fmla="*/ 4794801 w 12192000"/>
              <a:gd name="connsiteY5" fmla="*/ 2440718 h 2927350"/>
              <a:gd name="connsiteX6" fmla="*/ 3558421 w 12192000"/>
              <a:gd name="connsiteY6" fmla="*/ 2491179 h 2927350"/>
              <a:gd name="connsiteX7" fmla="*/ 2481369 w 12192000"/>
              <a:gd name="connsiteY7" fmla="*/ 2137948 h 2927350"/>
              <a:gd name="connsiteX8" fmla="*/ 1098408 w 12192000"/>
              <a:gd name="connsiteY8" fmla="*/ 2916949 h 2927350"/>
              <a:gd name="connsiteX9" fmla="*/ 1094559 w 12192000"/>
              <a:gd name="connsiteY9" fmla="*/ 2927350 h 2927350"/>
              <a:gd name="connsiteX10" fmla="*/ 0 w 12192000"/>
              <a:gd name="connsiteY10" fmla="*/ 2927350 h 2927350"/>
              <a:gd name="connsiteX11" fmla="*/ 0 w 12192000"/>
              <a:gd name="connsiteY11" fmla="*/ 0 h 292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2927350">
                <a:moveTo>
                  <a:pt x="0" y="0"/>
                </a:moveTo>
                <a:lnTo>
                  <a:pt x="12192000" y="0"/>
                </a:lnTo>
                <a:lnTo>
                  <a:pt x="12192000" y="2927350"/>
                </a:lnTo>
                <a:lnTo>
                  <a:pt x="5207034" y="2927350"/>
                </a:lnTo>
                <a:lnTo>
                  <a:pt x="5205492" y="2921483"/>
                </a:lnTo>
                <a:cubicBezTo>
                  <a:pt x="5139396" y="2733730"/>
                  <a:pt x="5017063" y="2549525"/>
                  <a:pt x="4794801" y="2440718"/>
                </a:cubicBezTo>
                <a:cubicBezTo>
                  <a:pt x="4425161" y="2257794"/>
                  <a:pt x="3905755" y="2409179"/>
                  <a:pt x="3558421" y="2491179"/>
                </a:cubicBezTo>
                <a:cubicBezTo>
                  <a:pt x="3204715" y="2573179"/>
                  <a:pt x="2694867" y="2238871"/>
                  <a:pt x="2481369" y="2137948"/>
                </a:cubicBezTo>
                <a:cubicBezTo>
                  <a:pt x="1837687" y="1838332"/>
                  <a:pt x="1225870" y="2286179"/>
                  <a:pt x="1098408" y="2916949"/>
                </a:cubicBezTo>
                <a:lnTo>
                  <a:pt x="1094559" y="2927350"/>
                </a:lnTo>
                <a:lnTo>
                  <a:pt x="0" y="2927350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4EBF4189-4941-4CB6-8FD3-D6748C7CD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1212" y="3132000"/>
            <a:ext cx="7845552" cy="1344042"/>
          </a:xfrm>
        </p:spPr>
        <p:txBody>
          <a:bodyPr lIns="0" anchor="ctr"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06EFD51-72CD-4178-BE76-B6C74464B07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671212" y="4608000"/>
            <a:ext cx="7845552" cy="429642"/>
          </a:xfr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(Author, Date and Location) edit here</a:t>
            </a:r>
          </a:p>
        </p:txBody>
      </p:sp>
    </p:spTree>
    <p:extLst>
      <p:ext uri="{BB962C8B-B14F-4D97-AF65-F5344CB8AC3E}">
        <p14:creationId xmlns:p14="http://schemas.microsoft.com/office/powerpoint/2010/main" val="10790108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Pulse/Photo_B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59" imgH="357" progId="TCLayout.ActiveDocument.1">
                  <p:embed/>
                </p:oleObj>
              </mc:Choice>
              <mc:Fallback>
                <p:oleObj name="think-cell Folie" r:id="rId8" imgW="359" imgH="357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2" hidden="1">
            <a:extLst>
              <a:ext uri="{FF2B5EF4-FFF2-40B4-BE49-F238E27FC236}">
                <a16:creationId xmlns:a16="http://schemas.microsoft.com/office/drawing/2014/main" id="{2576A9FA-490E-455F-8EC5-DC126D0F5F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59" imgH="357" progId="TCLayout.ActiveDocument.1">
                  <p:embed/>
                </p:oleObj>
              </mc:Choice>
              <mc:Fallback>
                <p:oleObj name="think-cell Folie" r:id="rId10" imgW="359" imgH="357" progId="TCLayout.ActiveDocument.1">
                  <p:embed/>
                  <p:pic>
                    <p:nvPicPr>
                      <p:cNvPr id="7" name="Objekt 2" hidden="1">
                        <a:extLst>
                          <a:ext uri="{FF2B5EF4-FFF2-40B4-BE49-F238E27FC236}">
                            <a16:creationId xmlns:a16="http://schemas.microsoft.com/office/drawing/2014/main" id="{2576A9FA-490E-455F-8EC5-DC126D0F5F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2" hidden="1">
            <a:extLst>
              <a:ext uri="{FF2B5EF4-FFF2-40B4-BE49-F238E27FC236}">
                <a16:creationId xmlns:a16="http://schemas.microsoft.com/office/drawing/2014/main" id="{839927A4-AD50-40CE-81D8-D768F883301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59" imgH="357" progId="TCLayout.ActiveDocument.1">
                  <p:embed/>
                </p:oleObj>
              </mc:Choice>
              <mc:Fallback>
                <p:oleObj name="think-cell Folie" r:id="rId11" imgW="359" imgH="357" progId="TCLayout.ActiveDocument.1">
                  <p:embed/>
                  <p:pic>
                    <p:nvPicPr>
                      <p:cNvPr id="8" name="Objekt 2" hidden="1">
                        <a:extLst>
                          <a:ext uri="{FF2B5EF4-FFF2-40B4-BE49-F238E27FC236}">
                            <a16:creationId xmlns:a16="http://schemas.microsoft.com/office/drawing/2014/main" id="{839927A4-AD50-40CE-81D8-D768F8833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2" hidden="1">
            <a:extLst>
              <a:ext uri="{FF2B5EF4-FFF2-40B4-BE49-F238E27FC236}">
                <a16:creationId xmlns:a16="http://schemas.microsoft.com/office/drawing/2014/main" id="{8D83A186-BE77-42E5-BA92-BD4543C623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59" imgH="357" progId="TCLayout.ActiveDocument.1">
                  <p:embed/>
                </p:oleObj>
              </mc:Choice>
              <mc:Fallback>
                <p:oleObj name="think-cell Folie" r:id="rId12" imgW="359" imgH="357" progId="TCLayout.ActiveDocument.1">
                  <p:embed/>
                  <p:pic>
                    <p:nvPicPr>
                      <p:cNvPr id="9" name="Objekt 2" hidden="1">
                        <a:extLst>
                          <a:ext uri="{FF2B5EF4-FFF2-40B4-BE49-F238E27FC236}">
                            <a16:creationId xmlns:a16="http://schemas.microsoft.com/office/drawing/2014/main" id="{8D83A186-BE77-42E5-BA92-BD4543C623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2" hidden="1">
            <a:extLst>
              <a:ext uri="{FF2B5EF4-FFF2-40B4-BE49-F238E27FC236}">
                <a16:creationId xmlns:a16="http://schemas.microsoft.com/office/drawing/2014/main" id="{875BE2D9-34A8-46A9-8EC2-AE8BE958FAFF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59" imgH="357" progId="TCLayout.ActiveDocument.1">
                  <p:embed/>
                </p:oleObj>
              </mc:Choice>
              <mc:Fallback>
                <p:oleObj name="think-cell Folie" r:id="rId13" imgW="359" imgH="357" progId="TCLayout.ActiveDocument.1">
                  <p:embed/>
                  <p:pic>
                    <p:nvPicPr>
                      <p:cNvPr id="10" name="Objekt 2" hidden="1">
                        <a:extLst>
                          <a:ext uri="{FF2B5EF4-FFF2-40B4-BE49-F238E27FC236}">
                            <a16:creationId xmlns:a16="http://schemas.microsoft.com/office/drawing/2014/main" id="{875BE2D9-34A8-46A9-8EC2-AE8BE958FA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30853975-6BC7-458B-BD57-C34F3C3D93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7983" y="3175"/>
            <a:ext cx="4452285" cy="6858382"/>
          </a:xfrm>
          <a:custGeom>
            <a:avLst/>
            <a:gdLst>
              <a:gd name="connsiteX0" fmla="*/ 0 w 4445000"/>
              <a:gd name="connsiteY0" fmla="*/ 0 h 6858000"/>
              <a:gd name="connsiteX1" fmla="*/ 4445000 w 4445000"/>
              <a:gd name="connsiteY1" fmla="*/ 0 h 6858000"/>
              <a:gd name="connsiteX2" fmla="*/ 4445000 w 4445000"/>
              <a:gd name="connsiteY2" fmla="*/ 1104781 h 6858000"/>
              <a:gd name="connsiteX3" fmla="*/ 4399591 w 4445000"/>
              <a:gd name="connsiteY3" fmla="*/ 1086630 h 6858000"/>
              <a:gd name="connsiteX4" fmla="*/ 3838752 w 4445000"/>
              <a:gd name="connsiteY4" fmla="*/ 1082684 h 6858000"/>
              <a:gd name="connsiteX5" fmla="*/ 3782134 w 4445000"/>
              <a:gd name="connsiteY5" fmla="*/ 1105266 h 6858000"/>
              <a:gd name="connsiteX6" fmla="*/ 3770421 w 4445000"/>
              <a:gd name="connsiteY6" fmla="*/ 1109388 h 6858000"/>
              <a:gd name="connsiteX7" fmla="*/ 3764033 w 4445000"/>
              <a:gd name="connsiteY7" fmla="*/ 1112485 h 6858000"/>
              <a:gd name="connsiteX8" fmla="*/ 3737986 w 4445000"/>
              <a:gd name="connsiteY8" fmla="*/ 1122874 h 6858000"/>
              <a:gd name="connsiteX9" fmla="*/ 3700081 w 4445000"/>
              <a:gd name="connsiteY9" fmla="*/ 1143495 h 6858000"/>
              <a:gd name="connsiteX10" fmla="*/ 3678844 w 4445000"/>
              <a:gd name="connsiteY10" fmla="*/ 1153793 h 6858000"/>
              <a:gd name="connsiteX11" fmla="*/ 3663814 w 4445000"/>
              <a:gd name="connsiteY11" fmla="*/ 1163226 h 6858000"/>
              <a:gd name="connsiteX12" fmla="*/ 3642552 w 4445000"/>
              <a:gd name="connsiteY12" fmla="*/ 1174793 h 6858000"/>
              <a:gd name="connsiteX13" fmla="*/ 3618784 w 4445000"/>
              <a:gd name="connsiteY13" fmla="*/ 1191487 h 6858000"/>
              <a:gd name="connsiteX14" fmla="*/ 3592277 w 4445000"/>
              <a:gd name="connsiteY14" fmla="*/ 1208122 h 6858000"/>
              <a:gd name="connsiteX15" fmla="*/ 3568204 w 4445000"/>
              <a:gd name="connsiteY15" fmla="*/ 1227011 h 6858000"/>
              <a:gd name="connsiteX16" fmla="*/ 3553106 w 4445000"/>
              <a:gd name="connsiteY16" fmla="*/ 1237615 h 6858000"/>
              <a:gd name="connsiteX17" fmla="*/ 3540125 w 4445000"/>
              <a:gd name="connsiteY17" fmla="*/ 1249043 h 6858000"/>
              <a:gd name="connsiteX18" fmla="*/ 3511261 w 4445000"/>
              <a:gd name="connsiteY18" fmla="*/ 1271691 h 6858000"/>
              <a:gd name="connsiteX19" fmla="*/ 3477675 w 4445000"/>
              <a:gd name="connsiteY19" fmla="*/ 1304023 h 6858000"/>
              <a:gd name="connsiteX20" fmla="*/ 3470303 w 4445000"/>
              <a:gd name="connsiteY20" fmla="*/ 1310513 h 6858000"/>
              <a:gd name="connsiteX21" fmla="*/ 3465465 w 4445000"/>
              <a:gd name="connsiteY21" fmla="*/ 1315777 h 6858000"/>
              <a:gd name="connsiteX22" fmla="*/ 3436336 w 4445000"/>
              <a:gd name="connsiteY22" fmla="*/ 1343818 h 6858000"/>
              <a:gd name="connsiteX23" fmla="*/ 3144980 w 4445000"/>
              <a:gd name="connsiteY23" fmla="*/ 1918038 h 6858000"/>
              <a:gd name="connsiteX24" fmla="*/ 3895627 w 4445000"/>
              <a:gd name="connsiteY24" fmla="*/ 4108658 h 6858000"/>
              <a:gd name="connsiteX25" fmla="*/ 4408936 w 4445000"/>
              <a:gd name="connsiteY25" fmla="*/ 4629443 h 6858000"/>
              <a:gd name="connsiteX26" fmla="*/ 4445000 w 4445000"/>
              <a:gd name="connsiteY26" fmla="*/ 4651642 h 6858000"/>
              <a:gd name="connsiteX27" fmla="*/ 4445000 w 4445000"/>
              <a:gd name="connsiteY27" fmla="*/ 6858000 h 6858000"/>
              <a:gd name="connsiteX28" fmla="*/ 0 w 4445000"/>
              <a:gd name="connsiteY28" fmla="*/ 6858000 h 6858000"/>
              <a:gd name="connsiteX0" fmla="*/ 0 w 4446588"/>
              <a:gd name="connsiteY0" fmla="*/ 0 h 6858000"/>
              <a:gd name="connsiteX1" fmla="*/ 4445000 w 4446588"/>
              <a:gd name="connsiteY1" fmla="*/ 0 h 6858000"/>
              <a:gd name="connsiteX2" fmla="*/ 4445000 w 4446588"/>
              <a:gd name="connsiteY2" fmla="*/ 1104781 h 6858000"/>
              <a:gd name="connsiteX3" fmla="*/ 4399591 w 4446588"/>
              <a:gd name="connsiteY3" fmla="*/ 1086630 h 6858000"/>
              <a:gd name="connsiteX4" fmla="*/ 3838752 w 4446588"/>
              <a:gd name="connsiteY4" fmla="*/ 1082684 h 6858000"/>
              <a:gd name="connsiteX5" fmla="*/ 3782134 w 4446588"/>
              <a:gd name="connsiteY5" fmla="*/ 1105266 h 6858000"/>
              <a:gd name="connsiteX6" fmla="*/ 3770421 w 4446588"/>
              <a:gd name="connsiteY6" fmla="*/ 1109388 h 6858000"/>
              <a:gd name="connsiteX7" fmla="*/ 3764033 w 4446588"/>
              <a:gd name="connsiteY7" fmla="*/ 1112485 h 6858000"/>
              <a:gd name="connsiteX8" fmla="*/ 3737986 w 4446588"/>
              <a:gd name="connsiteY8" fmla="*/ 1122874 h 6858000"/>
              <a:gd name="connsiteX9" fmla="*/ 3700081 w 4446588"/>
              <a:gd name="connsiteY9" fmla="*/ 1143495 h 6858000"/>
              <a:gd name="connsiteX10" fmla="*/ 3678844 w 4446588"/>
              <a:gd name="connsiteY10" fmla="*/ 1153793 h 6858000"/>
              <a:gd name="connsiteX11" fmla="*/ 3663814 w 4446588"/>
              <a:gd name="connsiteY11" fmla="*/ 1163226 h 6858000"/>
              <a:gd name="connsiteX12" fmla="*/ 3642552 w 4446588"/>
              <a:gd name="connsiteY12" fmla="*/ 1174793 h 6858000"/>
              <a:gd name="connsiteX13" fmla="*/ 3618784 w 4446588"/>
              <a:gd name="connsiteY13" fmla="*/ 1191487 h 6858000"/>
              <a:gd name="connsiteX14" fmla="*/ 3592277 w 4446588"/>
              <a:gd name="connsiteY14" fmla="*/ 1208122 h 6858000"/>
              <a:gd name="connsiteX15" fmla="*/ 3568204 w 4446588"/>
              <a:gd name="connsiteY15" fmla="*/ 1227011 h 6858000"/>
              <a:gd name="connsiteX16" fmla="*/ 3553106 w 4446588"/>
              <a:gd name="connsiteY16" fmla="*/ 1237615 h 6858000"/>
              <a:gd name="connsiteX17" fmla="*/ 3540125 w 4446588"/>
              <a:gd name="connsiteY17" fmla="*/ 1249043 h 6858000"/>
              <a:gd name="connsiteX18" fmla="*/ 3511261 w 4446588"/>
              <a:gd name="connsiteY18" fmla="*/ 1271691 h 6858000"/>
              <a:gd name="connsiteX19" fmla="*/ 3477675 w 4446588"/>
              <a:gd name="connsiteY19" fmla="*/ 1304023 h 6858000"/>
              <a:gd name="connsiteX20" fmla="*/ 3470303 w 4446588"/>
              <a:gd name="connsiteY20" fmla="*/ 1310513 h 6858000"/>
              <a:gd name="connsiteX21" fmla="*/ 3465465 w 4446588"/>
              <a:gd name="connsiteY21" fmla="*/ 1315777 h 6858000"/>
              <a:gd name="connsiteX22" fmla="*/ 3436336 w 4446588"/>
              <a:gd name="connsiteY22" fmla="*/ 1343818 h 6858000"/>
              <a:gd name="connsiteX23" fmla="*/ 3144980 w 4446588"/>
              <a:gd name="connsiteY23" fmla="*/ 1918038 h 6858000"/>
              <a:gd name="connsiteX24" fmla="*/ 3895627 w 4446588"/>
              <a:gd name="connsiteY24" fmla="*/ 4108658 h 6858000"/>
              <a:gd name="connsiteX25" fmla="*/ 4408936 w 4446588"/>
              <a:gd name="connsiteY25" fmla="*/ 4629443 h 6858000"/>
              <a:gd name="connsiteX26" fmla="*/ 4445000 w 4446588"/>
              <a:gd name="connsiteY26" fmla="*/ 4651642 h 6858000"/>
              <a:gd name="connsiteX27" fmla="*/ 4446588 w 4446588"/>
              <a:gd name="connsiteY27" fmla="*/ 6792445 h 6858000"/>
              <a:gd name="connsiteX28" fmla="*/ 4445000 w 4446588"/>
              <a:gd name="connsiteY28" fmla="*/ 6858000 h 6858000"/>
              <a:gd name="connsiteX29" fmla="*/ 0 w 4446588"/>
              <a:gd name="connsiteY29" fmla="*/ 6858000 h 6858000"/>
              <a:gd name="connsiteX30" fmla="*/ 0 w 4446588"/>
              <a:gd name="connsiteY30" fmla="*/ 0 h 6858000"/>
              <a:gd name="connsiteX0" fmla="*/ 0 w 4454547"/>
              <a:gd name="connsiteY0" fmla="*/ 0 h 6862768"/>
              <a:gd name="connsiteX1" fmla="*/ 4445000 w 4454547"/>
              <a:gd name="connsiteY1" fmla="*/ 0 h 6862768"/>
              <a:gd name="connsiteX2" fmla="*/ 4445000 w 4454547"/>
              <a:gd name="connsiteY2" fmla="*/ 1104781 h 6862768"/>
              <a:gd name="connsiteX3" fmla="*/ 4399591 w 4454547"/>
              <a:gd name="connsiteY3" fmla="*/ 1086630 h 6862768"/>
              <a:gd name="connsiteX4" fmla="*/ 3838752 w 4454547"/>
              <a:gd name="connsiteY4" fmla="*/ 1082684 h 6862768"/>
              <a:gd name="connsiteX5" fmla="*/ 3782134 w 4454547"/>
              <a:gd name="connsiteY5" fmla="*/ 1105266 h 6862768"/>
              <a:gd name="connsiteX6" fmla="*/ 3770421 w 4454547"/>
              <a:gd name="connsiteY6" fmla="*/ 1109388 h 6862768"/>
              <a:gd name="connsiteX7" fmla="*/ 3764033 w 4454547"/>
              <a:gd name="connsiteY7" fmla="*/ 1112485 h 6862768"/>
              <a:gd name="connsiteX8" fmla="*/ 3737986 w 4454547"/>
              <a:gd name="connsiteY8" fmla="*/ 1122874 h 6862768"/>
              <a:gd name="connsiteX9" fmla="*/ 3700081 w 4454547"/>
              <a:gd name="connsiteY9" fmla="*/ 1143495 h 6862768"/>
              <a:gd name="connsiteX10" fmla="*/ 3678844 w 4454547"/>
              <a:gd name="connsiteY10" fmla="*/ 1153793 h 6862768"/>
              <a:gd name="connsiteX11" fmla="*/ 3663814 w 4454547"/>
              <a:gd name="connsiteY11" fmla="*/ 1163226 h 6862768"/>
              <a:gd name="connsiteX12" fmla="*/ 3642552 w 4454547"/>
              <a:gd name="connsiteY12" fmla="*/ 1174793 h 6862768"/>
              <a:gd name="connsiteX13" fmla="*/ 3618784 w 4454547"/>
              <a:gd name="connsiteY13" fmla="*/ 1191487 h 6862768"/>
              <a:gd name="connsiteX14" fmla="*/ 3592277 w 4454547"/>
              <a:gd name="connsiteY14" fmla="*/ 1208122 h 6862768"/>
              <a:gd name="connsiteX15" fmla="*/ 3568204 w 4454547"/>
              <a:gd name="connsiteY15" fmla="*/ 1227011 h 6862768"/>
              <a:gd name="connsiteX16" fmla="*/ 3553106 w 4454547"/>
              <a:gd name="connsiteY16" fmla="*/ 1237615 h 6862768"/>
              <a:gd name="connsiteX17" fmla="*/ 3540125 w 4454547"/>
              <a:gd name="connsiteY17" fmla="*/ 1249043 h 6862768"/>
              <a:gd name="connsiteX18" fmla="*/ 3511261 w 4454547"/>
              <a:gd name="connsiteY18" fmla="*/ 1271691 h 6862768"/>
              <a:gd name="connsiteX19" fmla="*/ 3477675 w 4454547"/>
              <a:gd name="connsiteY19" fmla="*/ 1304023 h 6862768"/>
              <a:gd name="connsiteX20" fmla="*/ 3470303 w 4454547"/>
              <a:gd name="connsiteY20" fmla="*/ 1310513 h 6862768"/>
              <a:gd name="connsiteX21" fmla="*/ 3465465 w 4454547"/>
              <a:gd name="connsiteY21" fmla="*/ 1315777 h 6862768"/>
              <a:gd name="connsiteX22" fmla="*/ 3436336 w 4454547"/>
              <a:gd name="connsiteY22" fmla="*/ 1343818 h 6862768"/>
              <a:gd name="connsiteX23" fmla="*/ 3144980 w 4454547"/>
              <a:gd name="connsiteY23" fmla="*/ 1918038 h 6862768"/>
              <a:gd name="connsiteX24" fmla="*/ 3895627 w 4454547"/>
              <a:gd name="connsiteY24" fmla="*/ 4108658 h 6862768"/>
              <a:gd name="connsiteX25" fmla="*/ 4408936 w 4454547"/>
              <a:gd name="connsiteY25" fmla="*/ 4629443 h 6862768"/>
              <a:gd name="connsiteX26" fmla="*/ 4445000 w 4454547"/>
              <a:gd name="connsiteY26" fmla="*/ 4651642 h 6862768"/>
              <a:gd name="connsiteX27" fmla="*/ 4446588 w 4454547"/>
              <a:gd name="connsiteY27" fmla="*/ 6792445 h 6862768"/>
              <a:gd name="connsiteX28" fmla="*/ 4454525 w 4454547"/>
              <a:gd name="connsiteY28" fmla="*/ 6862768 h 6862768"/>
              <a:gd name="connsiteX29" fmla="*/ 0 w 4454547"/>
              <a:gd name="connsiteY29" fmla="*/ 6858000 h 6862768"/>
              <a:gd name="connsiteX30" fmla="*/ 0 w 4454547"/>
              <a:gd name="connsiteY30" fmla="*/ 0 h 6862768"/>
              <a:gd name="connsiteX0" fmla="*/ 1588 w 4456135"/>
              <a:gd name="connsiteY0" fmla="*/ 0 h 6862768"/>
              <a:gd name="connsiteX1" fmla="*/ 4446588 w 4456135"/>
              <a:gd name="connsiteY1" fmla="*/ 0 h 6862768"/>
              <a:gd name="connsiteX2" fmla="*/ 4446588 w 4456135"/>
              <a:gd name="connsiteY2" fmla="*/ 1104781 h 6862768"/>
              <a:gd name="connsiteX3" fmla="*/ 4401179 w 4456135"/>
              <a:gd name="connsiteY3" fmla="*/ 1086630 h 6862768"/>
              <a:gd name="connsiteX4" fmla="*/ 3840340 w 4456135"/>
              <a:gd name="connsiteY4" fmla="*/ 1082684 h 6862768"/>
              <a:gd name="connsiteX5" fmla="*/ 3783722 w 4456135"/>
              <a:gd name="connsiteY5" fmla="*/ 1105266 h 6862768"/>
              <a:gd name="connsiteX6" fmla="*/ 3772009 w 4456135"/>
              <a:gd name="connsiteY6" fmla="*/ 1109388 h 6862768"/>
              <a:gd name="connsiteX7" fmla="*/ 3765621 w 4456135"/>
              <a:gd name="connsiteY7" fmla="*/ 1112485 h 6862768"/>
              <a:gd name="connsiteX8" fmla="*/ 3739574 w 4456135"/>
              <a:gd name="connsiteY8" fmla="*/ 1122874 h 6862768"/>
              <a:gd name="connsiteX9" fmla="*/ 3701669 w 4456135"/>
              <a:gd name="connsiteY9" fmla="*/ 1143495 h 6862768"/>
              <a:gd name="connsiteX10" fmla="*/ 3680432 w 4456135"/>
              <a:gd name="connsiteY10" fmla="*/ 1153793 h 6862768"/>
              <a:gd name="connsiteX11" fmla="*/ 3665402 w 4456135"/>
              <a:gd name="connsiteY11" fmla="*/ 1163226 h 6862768"/>
              <a:gd name="connsiteX12" fmla="*/ 3644140 w 4456135"/>
              <a:gd name="connsiteY12" fmla="*/ 1174793 h 6862768"/>
              <a:gd name="connsiteX13" fmla="*/ 3620372 w 4456135"/>
              <a:gd name="connsiteY13" fmla="*/ 1191487 h 6862768"/>
              <a:gd name="connsiteX14" fmla="*/ 3593865 w 4456135"/>
              <a:gd name="connsiteY14" fmla="*/ 1208122 h 6862768"/>
              <a:gd name="connsiteX15" fmla="*/ 3569792 w 4456135"/>
              <a:gd name="connsiteY15" fmla="*/ 1227011 h 6862768"/>
              <a:gd name="connsiteX16" fmla="*/ 3554694 w 4456135"/>
              <a:gd name="connsiteY16" fmla="*/ 1237615 h 6862768"/>
              <a:gd name="connsiteX17" fmla="*/ 3541713 w 4456135"/>
              <a:gd name="connsiteY17" fmla="*/ 1249043 h 6862768"/>
              <a:gd name="connsiteX18" fmla="*/ 3512849 w 4456135"/>
              <a:gd name="connsiteY18" fmla="*/ 1271691 h 6862768"/>
              <a:gd name="connsiteX19" fmla="*/ 3479263 w 4456135"/>
              <a:gd name="connsiteY19" fmla="*/ 1304023 h 6862768"/>
              <a:gd name="connsiteX20" fmla="*/ 3471891 w 4456135"/>
              <a:gd name="connsiteY20" fmla="*/ 1310513 h 6862768"/>
              <a:gd name="connsiteX21" fmla="*/ 3467053 w 4456135"/>
              <a:gd name="connsiteY21" fmla="*/ 1315777 h 6862768"/>
              <a:gd name="connsiteX22" fmla="*/ 3437924 w 4456135"/>
              <a:gd name="connsiteY22" fmla="*/ 1343818 h 6862768"/>
              <a:gd name="connsiteX23" fmla="*/ 3146568 w 4456135"/>
              <a:gd name="connsiteY23" fmla="*/ 1918038 h 6862768"/>
              <a:gd name="connsiteX24" fmla="*/ 3897215 w 4456135"/>
              <a:gd name="connsiteY24" fmla="*/ 4108658 h 6862768"/>
              <a:gd name="connsiteX25" fmla="*/ 4410524 w 4456135"/>
              <a:gd name="connsiteY25" fmla="*/ 4629443 h 6862768"/>
              <a:gd name="connsiteX26" fmla="*/ 4446588 w 4456135"/>
              <a:gd name="connsiteY26" fmla="*/ 4651642 h 6862768"/>
              <a:gd name="connsiteX27" fmla="*/ 4448176 w 4456135"/>
              <a:gd name="connsiteY27" fmla="*/ 6792445 h 6862768"/>
              <a:gd name="connsiteX28" fmla="*/ 4456113 w 4456135"/>
              <a:gd name="connsiteY28" fmla="*/ 6862768 h 6862768"/>
              <a:gd name="connsiteX29" fmla="*/ 1588 w 4456135"/>
              <a:gd name="connsiteY29" fmla="*/ 6858000 h 6862768"/>
              <a:gd name="connsiteX30" fmla="*/ 0 w 4456135"/>
              <a:gd name="connsiteY30" fmla="*/ 6749524 h 6862768"/>
              <a:gd name="connsiteX31" fmla="*/ 1588 w 4456135"/>
              <a:gd name="connsiteY31" fmla="*/ 0 h 6862768"/>
              <a:gd name="connsiteX0" fmla="*/ 4807 w 4459354"/>
              <a:gd name="connsiteY0" fmla="*/ 0 h 6867538"/>
              <a:gd name="connsiteX1" fmla="*/ 4449807 w 4459354"/>
              <a:gd name="connsiteY1" fmla="*/ 0 h 6867538"/>
              <a:gd name="connsiteX2" fmla="*/ 4449807 w 4459354"/>
              <a:gd name="connsiteY2" fmla="*/ 1104781 h 6867538"/>
              <a:gd name="connsiteX3" fmla="*/ 4404398 w 4459354"/>
              <a:gd name="connsiteY3" fmla="*/ 1086630 h 6867538"/>
              <a:gd name="connsiteX4" fmla="*/ 3843559 w 4459354"/>
              <a:gd name="connsiteY4" fmla="*/ 1082684 h 6867538"/>
              <a:gd name="connsiteX5" fmla="*/ 3786941 w 4459354"/>
              <a:gd name="connsiteY5" fmla="*/ 1105266 h 6867538"/>
              <a:gd name="connsiteX6" fmla="*/ 3775228 w 4459354"/>
              <a:gd name="connsiteY6" fmla="*/ 1109388 h 6867538"/>
              <a:gd name="connsiteX7" fmla="*/ 3768840 w 4459354"/>
              <a:gd name="connsiteY7" fmla="*/ 1112485 h 6867538"/>
              <a:gd name="connsiteX8" fmla="*/ 3742793 w 4459354"/>
              <a:gd name="connsiteY8" fmla="*/ 1122874 h 6867538"/>
              <a:gd name="connsiteX9" fmla="*/ 3704888 w 4459354"/>
              <a:gd name="connsiteY9" fmla="*/ 1143495 h 6867538"/>
              <a:gd name="connsiteX10" fmla="*/ 3683651 w 4459354"/>
              <a:gd name="connsiteY10" fmla="*/ 1153793 h 6867538"/>
              <a:gd name="connsiteX11" fmla="*/ 3668621 w 4459354"/>
              <a:gd name="connsiteY11" fmla="*/ 1163226 h 6867538"/>
              <a:gd name="connsiteX12" fmla="*/ 3647359 w 4459354"/>
              <a:gd name="connsiteY12" fmla="*/ 1174793 h 6867538"/>
              <a:gd name="connsiteX13" fmla="*/ 3623591 w 4459354"/>
              <a:gd name="connsiteY13" fmla="*/ 1191487 h 6867538"/>
              <a:gd name="connsiteX14" fmla="*/ 3597084 w 4459354"/>
              <a:gd name="connsiteY14" fmla="*/ 1208122 h 6867538"/>
              <a:gd name="connsiteX15" fmla="*/ 3573011 w 4459354"/>
              <a:gd name="connsiteY15" fmla="*/ 1227011 h 6867538"/>
              <a:gd name="connsiteX16" fmla="*/ 3557913 w 4459354"/>
              <a:gd name="connsiteY16" fmla="*/ 1237615 h 6867538"/>
              <a:gd name="connsiteX17" fmla="*/ 3544932 w 4459354"/>
              <a:gd name="connsiteY17" fmla="*/ 1249043 h 6867538"/>
              <a:gd name="connsiteX18" fmla="*/ 3516068 w 4459354"/>
              <a:gd name="connsiteY18" fmla="*/ 1271691 h 6867538"/>
              <a:gd name="connsiteX19" fmla="*/ 3482482 w 4459354"/>
              <a:gd name="connsiteY19" fmla="*/ 1304023 h 6867538"/>
              <a:gd name="connsiteX20" fmla="*/ 3475110 w 4459354"/>
              <a:gd name="connsiteY20" fmla="*/ 1310513 h 6867538"/>
              <a:gd name="connsiteX21" fmla="*/ 3470272 w 4459354"/>
              <a:gd name="connsiteY21" fmla="*/ 1315777 h 6867538"/>
              <a:gd name="connsiteX22" fmla="*/ 3441143 w 4459354"/>
              <a:gd name="connsiteY22" fmla="*/ 1343818 h 6867538"/>
              <a:gd name="connsiteX23" fmla="*/ 3149787 w 4459354"/>
              <a:gd name="connsiteY23" fmla="*/ 1918038 h 6867538"/>
              <a:gd name="connsiteX24" fmla="*/ 3900434 w 4459354"/>
              <a:gd name="connsiteY24" fmla="*/ 4108658 h 6867538"/>
              <a:gd name="connsiteX25" fmla="*/ 4413743 w 4459354"/>
              <a:gd name="connsiteY25" fmla="*/ 4629443 h 6867538"/>
              <a:gd name="connsiteX26" fmla="*/ 4449807 w 4459354"/>
              <a:gd name="connsiteY26" fmla="*/ 4651642 h 6867538"/>
              <a:gd name="connsiteX27" fmla="*/ 4451395 w 4459354"/>
              <a:gd name="connsiteY27" fmla="*/ 6792445 h 6867538"/>
              <a:gd name="connsiteX28" fmla="*/ 4459332 w 4459354"/>
              <a:gd name="connsiteY28" fmla="*/ 6862768 h 6867538"/>
              <a:gd name="connsiteX29" fmla="*/ 45 w 4459354"/>
              <a:gd name="connsiteY29" fmla="*/ 6867538 h 6867538"/>
              <a:gd name="connsiteX30" fmla="*/ 3219 w 4459354"/>
              <a:gd name="connsiteY30" fmla="*/ 6749524 h 6867538"/>
              <a:gd name="connsiteX31" fmla="*/ 4807 w 4459354"/>
              <a:gd name="connsiteY31" fmla="*/ 0 h 6867538"/>
              <a:gd name="connsiteX0" fmla="*/ 4807 w 4454615"/>
              <a:gd name="connsiteY0" fmla="*/ 0 h 6867538"/>
              <a:gd name="connsiteX1" fmla="*/ 4449807 w 4454615"/>
              <a:gd name="connsiteY1" fmla="*/ 0 h 6867538"/>
              <a:gd name="connsiteX2" fmla="*/ 4449807 w 4454615"/>
              <a:gd name="connsiteY2" fmla="*/ 1104781 h 6867538"/>
              <a:gd name="connsiteX3" fmla="*/ 4404398 w 4454615"/>
              <a:gd name="connsiteY3" fmla="*/ 1086630 h 6867538"/>
              <a:gd name="connsiteX4" fmla="*/ 3843559 w 4454615"/>
              <a:gd name="connsiteY4" fmla="*/ 1082684 h 6867538"/>
              <a:gd name="connsiteX5" fmla="*/ 3786941 w 4454615"/>
              <a:gd name="connsiteY5" fmla="*/ 1105266 h 6867538"/>
              <a:gd name="connsiteX6" fmla="*/ 3775228 w 4454615"/>
              <a:gd name="connsiteY6" fmla="*/ 1109388 h 6867538"/>
              <a:gd name="connsiteX7" fmla="*/ 3768840 w 4454615"/>
              <a:gd name="connsiteY7" fmla="*/ 1112485 h 6867538"/>
              <a:gd name="connsiteX8" fmla="*/ 3742793 w 4454615"/>
              <a:gd name="connsiteY8" fmla="*/ 1122874 h 6867538"/>
              <a:gd name="connsiteX9" fmla="*/ 3704888 w 4454615"/>
              <a:gd name="connsiteY9" fmla="*/ 1143495 h 6867538"/>
              <a:gd name="connsiteX10" fmla="*/ 3683651 w 4454615"/>
              <a:gd name="connsiteY10" fmla="*/ 1153793 h 6867538"/>
              <a:gd name="connsiteX11" fmla="*/ 3668621 w 4454615"/>
              <a:gd name="connsiteY11" fmla="*/ 1163226 h 6867538"/>
              <a:gd name="connsiteX12" fmla="*/ 3647359 w 4454615"/>
              <a:gd name="connsiteY12" fmla="*/ 1174793 h 6867538"/>
              <a:gd name="connsiteX13" fmla="*/ 3623591 w 4454615"/>
              <a:gd name="connsiteY13" fmla="*/ 1191487 h 6867538"/>
              <a:gd name="connsiteX14" fmla="*/ 3597084 w 4454615"/>
              <a:gd name="connsiteY14" fmla="*/ 1208122 h 6867538"/>
              <a:gd name="connsiteX15" fmla="*/ 3573011 w 4454615"/>
              <a:gd name="connsiteY15" fmla="*/ 1227011 h 6867538"/>
              <a:gd name="connsiteX16" fmla="*/ 3557913 w 4454615"/>
              <a:gd name="connsiteY16" fmla="*/ 1237615 h 6867538"/>
              <a:gd name="connsiteX17" fmla="*/ 3544932 w 4454615"/>
              <a:gd name="connsiteY17" fmla="*/ 1249043 h 6867538"/>
              <a:gd name="connsiteX18" fmla="*/ 3516068 w 4454615"/>
              <a:gd name="connsiteY18" fmla="*/ 1271691 h 6867538"/>
              <a:gd name="connsiteX19" fmla="*/ 3482482 w 4454615"/>
              <a:gd name="connsiteY19" fmla="*/ 1304023 h 6867538"/>
              <a:gd name="connsiteX20" fmla="*/ 3475110 w 4454615"/>
              <a:gd name="connsiteY20" fmla="*/ 1310513 h 6867538"/>
              <a:gd name="connsiteX21" fmla="*/ 3470272 w 4454615"/>
              <a:gd name="connsiteY21" fmla="*/ 1315777 h 6867538"/>
              <a:gd name="connsiteX22" fmla="*/ 3441143 w 4454615"/>
              <a:gd name="connsiteY22" fmla="*/ 1343818 h 6867538"/>
              <a:gd name="connsiteX23" fmla="*/ 3149787 w 4454615"/>
              <a:gd name="connsiteY23" fmla="*/ 1918038 h 6867538"/>
              <a:gd name="connsiteX24" fmla="*/ 3900434 w 4454615"/>
              <a:gd name="connsiteY24" fmla="*/ 4108658 h 6867538"/>
              <a:gd name="connsiteX25" fmla="*/ 4413743 w 4454615"/>
              <a:gd name="connsiteY25" fmla="*/ 4629443 h 6867538"/>
              <a:gd name="connsiteX26" fmla="*/ 4449807 w 4454615"/>
              <a:gd name="connsiteY26" fmla="*/ 4651642 h 6867538"/>
              <a:gd name="connsiteX27" fmla="*/ 4451395 w 4454615"/>
              <a:gd name="connsiteY27" fmla="*/ 6792445 h 6867538"/>
              <a:gd name="connsiteX28" fmla="*/ 4454570 w 4454615"/>
              <a:gd name="connsiteY28" fmla="*/ 6862769 h 6867538"/>
              <a:gd name="connsiteX29" fmla="*/ 45 w 4454615"/>
              <a:gd name="connsiteY29" fmla="*/ 6867538 h 6867538"/>
              <a:gd name="connsiteX30" fmla="*/ 3219 w 4454615"/>
              <a:gd name="connsiteY30" fmla="*/ 6749524 h 6867538"/>
              <a:gd name="connsiteX31" fmla="*/ 4807 w 4454615"/>
              <a:gd name="connsiteY31" fmla="*/ 0 h 6867538"/>
              <a:gd name="connsiteX0" fmla="*/ 4807 w 4451395"/>
              <a:gd name="connsiteY0" fmla="*/ 0 h 6867538"/>
              <a:gd name="connsiteX1" fmla="*/ 4449807 w 4451395"/>
              <a:gd name="connsiteY1" fmla="*/ 0 h 6867538"/>
              <a:gd name="connsiteX2" fmla="*/ 4449807 w 4451395"/>
              <a:gd name="connsiteY2" fmla="*/ 1104781 h 6867538"/>
              <a:gd name="connsiteX3" fmla="*/ 4404398 w 4451395"/>
              <a:gd name="connsiteY3" fmla="*/ 1086630 h 6867538"/>
              <a:gd name="connsiteX4" fmla="*/ 3843559 w 4451395"/>
              <a:gd name="connsiteY4" fmla="*/ 1082684 h 6867538"/>
              <a:gd name="connsiteX5" fmla="*/ 3786941 w 4451395"/>
              <a:gd name="connsiteY5" fmla="*/ 1105266 h 6867538"/>
              <a:gd name="connsiteX6" fmla="*/ 3775228 w 4451395"/>
              <a:gd name="connsiteY6" fmla="*/ 1109388 h 6867538"/>
              <a:gd name="connsiteX7" fmla="*/ 3768840 w 4451395"/>
              <a:gd name="connsiteY7" fmla="*/ 1112485 h 6867538"/>
              <a:gd name="connsiteX8" fmla="*/ 3742793 w 4451395"/>
              <a:gd name="connsiteY8" fmla="*/ 1122874 h 6867538"/>
              <a:gd name="connsiteX9" fmla="*/ 3704888 w 4451395"/>
              <a:gd name="connsiteY9" fmla="*/ 1143495 h 6867538"/>
              <a:gd name="connsiteX10" fmla="*/ 3683651 w 4451395"/>
              <a:gd name="connsiteY10" fmla="*/ 1153793 h 6867538"/>
              <a:gd name="connsiteX11" fmla="*/ 3668621 w 4451395"/>
              <a:gd name="connsiteY11" fmla="*/ 1163226 h 6867538"/>
              <a:gd name="connsiteX12" fmla="*/ 3647359 w 4451395"/>
              <a:gd name="connsiteY12" fmla="*/ 1174793 h 6867538"/>
              <a:gd name="connsiteX13" fmla="*/ 3623591 w 4451395"/>
              <a:gd name="connsiteY13" fmla="*/ 1191487 h 6867538"/>
              <a:gd name="connsiteX14" fmla="*/ 3597084 w 4451395"/>
              <a:gd name="connsiteY14" fmla="*/ 1208122 h 6867538"/>
              <a:gd name="connsiteX15" fmla="*/ 3573011 w 4451395"/>
              <a:gd name="connsiteY15" fmla="*/ 1227011 h 6867538"/>
              <a:gd name="connsiteX16" fmla="*/ 3557913 w 4451395"/>
              <a:gd name="connsiteY16" fmla="*/ 1237615 h 6867538"/>
              <a:gd name="connsiteX17" fmla="*/ 3544932 w 4451395"/>
              <a:gd name="connsiteY17" fmla="*/ 1249043 h 6867538"/>
              <a:gd name="connsiteX18" fmla="*/ 3516068 w 4451395"/>
              <a:gd name="connsiteY18" fmla="*/ 1271691 h 6867538"/>
              <a:gd name="connsiteX19" fmla="*/ 3482482 w 4451395"/>
              <a:gd name="connsiteY19" fmla="*/ 1304023 h 6867538"/>
              <a:gd name="connsiteX20" fmla="*/ 3475110 w 4451395"/>
              <a:gd name="connsiteY20" fmla="*/ 1310513 h 6867538"/>
              <a:gd name="connsiteX21" fmla="*/ 3470272 w 4451395"/>
              <a:gd name="connsiteY21" fmla="*/ 1315777 h 6867538"/>
              <a:gd name="connsiteX22" fmla="*/ 3441143 w 4451395"/>
              <a:gd name="connsiteY22" fmla="*/ 1343818 h 6867538"/>
              <a:gd name="connsiteX23" fmla="*/ 3149787 w 4451395"/>
              <a:gd name="connsiteY23" fmla="*/ 1918038 h 6867538"/>
              <a:gd name="connsiteX24" fmla="*/ 3900434 w 4451395"/>
              <a:gd name="connsiteY24" fmla="*/ 4108658 h 6867538"/>
              <a:gd name="connsiteX25" fmla="*/ 4413743 w 4451395"/>
              <a:gd name="connsiteY25" fmla="*/ 4629443 h 6867538"/>
              <a:gd name="connsiteX26" fmla="*/ 4449807 w 4451395"/>
              <a:gd name="connsiteY26" fmla="*/ 4651642 h 6867538"/>
              <a:gd name="connsiteX27" fmla="*/ 4451395 w 4451395"/>
              <a:gd name="connsiteY27" fmla="*/ 6792445 h 6867538"/>
              <a:gd name="connsiteX28" fmla="*/ 4449807 w 4451395"/>
              <a:gd name="connsiteY28" fmla="*/ 6862770 h 6867538"/>
              <a:gd name="connsiteX29" fmla="*/ 45 w 4451395"/>
              <a:gd name="connsiteY29" fmla="*/ 6867538 h 6867538"/>
              <a:gd name="connsiteX30" fmla="*/ 3219 w 4451395"/>
              <a:gd name="connsiteY30" fmla="*/ 6749524 h 6867538"/>
              <a:gd name="connsiteX31" fmla="*/ 4807 w 4451395"/>
              <a:gd name="connsiteY31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68840 w 4452285"/>
              <a:gd name="connsiteY7" fmla="*/ 1112485 h 6867538"/>
              <a:gd name="connsiteX8" fmla="*/ 3742793 w 4452285"/>
              <a:gd name="connsiteY8" fmla="*/ 1122874 h 6867538"/>
              <a:gd name="connsiteX9" fmla="*/ 3704888 w 4452285"/>
              <a:gd name="connsiteY9" fmla="*/ 1143495 h 6867538"/>
              <a:gd name="connsiteX10" fmla="*/ 3683651 w 4452285"/>
              <a:gd name="connsiteY10" fmla="*/ 1153793 h 6867538"/>
              <a:gd name="connsiteX11" fmla="*/ 3668621 w 4452285"/>
              <a:gd name="connsiteY11" fmla="*/ 1163226 h 6867538"/>
              <a:gd name="connsiteX12" fmla="*/ 3647359 w 4452285"/>
              <a:gd name="connsiteY12" fmla="*/ 1174793 h 6867538"/>
              <a:gd name="connsiteX13" fmla="*/ 3623591 w 4452285"/>
              <a:gd name="connsiteY13" fmla="*/ 1191487 h 6867538"/>
              <a:gd name="connsiteX14" fmla="*/ 3597084 w 4452285"/>
              <a:gd name="connsiteY14" fmla="*/ 1208122 h 6867538"/>
              <a:gd name="connsiteX15" fmla="*/ 3573011 w 4452285"/>
              <a:gd name="connsiteY15" fmla="*/ 1227011 h 6867538"/>
              <a:gd name="connsiteX16" fmla="*/ 3557913 w 4452285"/>
              <a:gd name="connsiteY16" fmla="*/ 1237615 h 6867538"/>
              <a:gd name="connsiteX17" fmla="*/ 3544932 w 4452285"/>
              <a:gd name="connsiteY17" fmla="*/ 1249043 h 6867538"/>
              <a:gd name="connsiteX18" fmla="*/ 3516068 w 4452285"/>
              <a:gd name="connsiteY18" fmla="*/ 1271691 h 6867538"/>
              <a:gd name="connsiteX19" fmla="*/ 3482482 w 4452285"/>
              <a:gd name="connsiteY19" fmla="*/ 1304023 h 6867538"/>
              <a:gd name="connsiteX20" fmla="*/ 3475110 w 4452285"/>
              <a:gd name="connsiteY20" fmla="*/ 1310513 h 6867538"/>
              <a:gd name="connsiteX21" fmla="*/ 3470272 w 4452285"/>
              <a:gd name="connsiteY21" fmla="*/ 1315777 h 6867538"/>
              <a:gd name="connsiteX22" fmla="*/ 3441143 w 4452285"/>
              <a:gd name="connsiteY22" fmla="*/ 1343818 h 6867538"/>
              <a:gd name="connsiteX23" fmla="*/ 3149787 w 4452285"/>
              <a:gd name="connsiteY23" fmla="*/ 1918038 h 6867538"/>
              <a:gd name="connsiteX24" fmla="*/ 3900434 w 4452285"/>
              <a:gd name="connsiteY24" fmla="*/ 4108658 h 6867538"/>
              <a:gd name="connsiteX25" fmla="*/ 4413743 w 4452285"/>
              <a:gd name="connsiteY25" fmla="*/ 4629443 h 6867538"/>
              <a:gd name="connsiteX26" fmla="*/ 4449807 w 4452285"/>
              <a:gd name="connsiteY26" fmla="*/ 4651642 h 6867538"/>
              <a:gd name="connsiteX27" fmla="*/ 4451395 w 4452285"/>
              <a:gd name="connsiteY27" fmla="*/ 6792445 h 6867538"/>
              <a:gd name="connsiteX28" fmla="*/ 4452189 w 4452285"/>
              <a:gd name="connsiteY28" fmla="*/ 6862771 h 6867538"/>
              <a:gd name="connsiteX29" fmla="*/ 45 w 4452285"/>
              <a:gd name="connsiteY29" fmla="*/ 6867538 h 6867538"/>
              <a:gd name="connsiteX30" fmla="*/ 3219 w 4452285"/>
              <a:gd name="connsiteY30" fmla="*/ 6749524 h 6867538"/>
              <a:gd name="connsiteX31" fmla="*/ 4807 w 4452285"/>
              <a:gd name="connsiteY31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68840 w 4452285"/>
              <a:gd name="connsiteY7" fmla="*/ 1112485 h 6867538"/>
              <a:gd name="connsiteX8" fmla="*/ 3742793 w 4452285"/>
              <a:gd name="connsiteY8" fmla="*/ 1122874 h 6867538"/>
              <a:gd name="connsiteX9" fmla="*/ 3683651 w 4452285"/>
              <a:gd name="connsiteY9" fmla="*/ 1153793 h 6867538"/>
              <a:gd name="connsiteX10" fmla="*/ 3668621 w 4452285"/>
              <a:gd name="connsiteY10" fmla="*/ 1163226 h 6867538"/>
              <a:gd name="connsiteX11" fmla="*/ 3647359 w 4452285"/>
              <a:gd name="connsiteY11" fmla="*/ 1174793 h 6867538"/>
              <a:gd name="connsiteX12" fmla="*/ 3623591 w 4452285"/>
              <a:gd name="connsiteY12" fmla="*/ 1191487 h 6867538"/>
              <a:gd name="connsiteX13" fmla="*/ 3597084 w 4452285"/>
              <a:gd name="connsiteY13" fmla="*/ 1208122 h 6867538"/>
              <a:gd name="connsiteX14" fmla="*/ 3573011 w 4452285"/>
              <a:gd name="connsiteY14" fmla="*/ 1227011 h 6867538"/>
              <a:gd name="connsiteX15" fmla="*/ 3557913 w 4452285"/>
              <a:gd name="connsiteY15" fmla="*/ 1237615 h 6867538"/>
              <a:gd name="connsiteX16" fmla="*/ 3544932 w 4452285"/>
              <a:gd name="connsiteY16" fmla="*/ 1249043 h 6867538"/>
              <a:gd name="connsiteX17" fmla="*/ 3516068 w 4452285"/>
              <a:gd name="connsiteY17" fmla="*/ 1271691 h 6867538"/>
              <a:gd name="connsiteX18" fmla="*/ 3482482 w 4452285"/>
              <a:gd name="connsiteY18" fmla="*/ 1304023 h 6867538"/>
              <a:gd name="connsiteX19" fmla="*/ 3475110 w 4452285"/>
              <a:gd name="connsiteY19" fmla="*/ 1310513 h 6867538"/>
              <a:gd name="connsiteX20" fmla="*/ 3470272 w 4452285"/>
              <a:gd name="connsiteY20" fmla="*/ 1315777 h 6867538"/>
              <a:gd name="connsiteX21" fmla="*/ 3441143 w 4452285"/>
              <a:gd name="connsiteY21" fmla="*/ 1343818 h 6867538"/>
              <a:gd name="connsiteX22" fmla="*/ 3149787 w 4452285"/>
              <a:gd name="connsiteY22" fmla="*/ 1918038 h 6867538"/>
              <a:gd name="connsiteX23" fmla="*/ 3900434 w 4452285"/>
              <a:gd name="connsiteY23" fmla="*/ 4108658 h 6867538"/>
              <a:gd name="connsiteX24" fmla="*/ 4413743 w 4452285"/>
              <a:gd name="connsiteY24" fmla="*/ 4629443 h 6867538"/>
              <a:gd name="connsiteX25" fmla="*/ 4449807 w 4452285"/>
              <a:gd name="connsiteY25" fmla="*/ 4651642 h 6867538"/>
              <a:gd name="connsiteX26" fmla="*/ 4451395 w 4452285"/>
              <a:gd name="connsiteY26" fmla="*/ 6792445 h 6867538"/>
              <a:gd name="connsiteX27" fmla="*/ 4452189 w 4452285"/>
              <a:gd name="connsiteY27" fmla="*/ 6862771 h 6867538"/>
              <a:gd name="connsiteX28" fmla="*/ 45 w 4452285"/>
              <a:gd name="connsiteY28" fmla="*/ 6867538 h 6867538"/>
              <a:gd name="connsiteX29" fmla="*/ 3219 w 4452285"/>
              <a:gd name="connsiteY29" fmla="*/ 6749524 h 6867538"/>
              <a:gd name="connsiteX30" fmla="*/ 4807 w 4452285"/>
              <a:gd name="connsiteY30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68840 w 4452285"/>
              <a:gd name="connsiteY7" fmla="*/ 1112485 h 6867538"/>
              <a:gd name="connsiteX8" fmla="*/ 3742793 w 4452285"/>
              <a:gd name="connsiteY8" fmla="*/ 1122874 h 6867538"/>
              <a:gd name="connsiteX9" fmla="*/ 3668621 w 4452285"/>
              <a:gd name="connsiteY9" fmla="*/ 1163226 h 6867538"/>
              <a:gd name="connsiteX10" fmla="*/ 3647359 w 4452285"/>
              <a:gd name="connsiteY10" fmla="*/ 1174793 h 6867538"/>
              <a:gd name="connsiteX11" fmla="*/ 3623591 w 4452285"/>
              <a:gd name="connsiteY11" fmla="*/ 1191487 h 6867538"/>
              <a:gd name="connsiteX12" fmla="*/ 3597084 w 4452285"/>
              <a:gd name="connsiteY12" fmla="*/ 1208122 h 6867538"/>
              <a:gd name="connsiteX13" fmla="*/ 3573011 w 4452285"/>
              <a:gd name="connsiteY13" fmla="*/ 1227011 h 6867538"/>
              <a:gd name="connsiteX14" fmla="*/ 3557913 w 4452285"/>
              <a:gd name="connsiteY14" fmla="*/ 1237615 h 6867538"/>
              <a:gd name="connsiteX15" fmla="*/ 3544932 w 4452285"/>
              <a:gd name="connsiteY15" fmla="*/ 1249043 h 6867538"/>
              <a:gd name="connsiteX16" fmla="*/ 3516068 w 4452285"/>
              <a:gd name="connsiteY16" fmla="*/ 1271691 h 6867538"/>
              <a:gd name="connsiteX17" fmla="*/ 3482482 w 4452285"/>
              <a:gd name="connsiteY17" fmla="*/ 1304023 h 6867538"/>
              <a:gd name="connsiteX18" fmla="*/ 3475110 w 4452285"/>
              <a:gd name="connsiteY18" fmla="*/ 1310513 h 6867538"/>
              <a:gd name="connsiteX19" fmla="*/ 3470272 w 4452285"/>
              <a:gd name="connsiteY19" fmla="*/ 1315777 h 6867538"/>
              <a:gd name="connsiteX20" fmla="*/ 3441143 w 4452285"/>
              <a:gd name="connsiteY20" fmla="*/ 1343818 h 6867538"/>
              <a:gd name="connsiteX21" fmla="*/ 3149787 w 4452285"/>
              <a:gd name="connsiteY21" fmla="*/ 1918038 h 6867538"/>
              <a:gd name="connsiteX22" fmla="*/ 3900434 w 4452285"/>
              <a:gd name="connsiteY22" fmla="*/ 4108658 h 6867538"/>
              <a:gd name="connsiteX23" fmla="*/ 4413743 w 4452285"/>
              <a:gd name="connsiteY23" fmla="*/ 4629443 h 6867538"/>
              <a:gd name="connsiteX24" fmla="*/ 4449807 w 4452285"/>
              <a:gd name="connsiteY24" fmla="*/ 4651642 h 6867538"/>
              <a:gd name="connsiteX25" fmla="*/ 4451395 w 4452285"/>
              <a:gd name="connsiteY25" fmla="*/ 6792445 h 6867538"/>
              <a:gd name="connsiteX26" fmla="*/ 4452189 w 4452285"/>
              <a:gd name="connsiteY26" fmla="*/ 6862771 h 6867538"/>
              <a:gd name="connsiteX27" fmla="*/ 45 w 4452285"/>
              <a:gd name="connsiteY27" fmla="*/ 6867538 h 6867538"/>
              <a:gd name="connsiteX28" fmla="*/ 3219 w 4452285"/>
              <a:gd name="connsiteY28" fmla="*/ 6749524 h 6867538"/>
              <a:gd name="connsiteX29" fmla="*/ 4807 w 4452285"/>
              <a:gd name="connsiteY29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68840 w 4452285"/>
              <a:gd name="connsiteY7" fmla="*/ 1112485 h 6867538"/>
              <a:gd name="connsiteX8" fmla="*/ 3742793 w 4452285"/>
              <a:gd name="connsiteY8" fmla="*/ 1122874 h 6867538"/>
              <a:gd name="connsiteX9" fmla="*/ 3647359 w 4452285"/>
              <a:gd name="connsiteY9" fmla="*/ 1174793 h 6867538"/>
              <a:gd name="connsiteX10" fmla="*/ 3623591 w 4452285"/>
              <a:gd name="connsiteY10" fmla="*/ 1191487 h 6867538"/>
              <a:gd name="connsiteX11" fmla="*/ 3597084 w 4452285"/>
              <a:gd name="connsiteY11" fmla="*/ 1208122 h 6867538"/>
              <a:gd name="connsiteX12" fmla="*/ 3573011 w 4452285"/>
              <a:gd name="connsiteY12" fmla="*/ 1227011 h 6867538"/>
              <a:gd name="connsiteX13" fmla="*/ 3557913 w 4452285"/>
              <a:gd name="connsiteY13" fmla="*/ 1237615 h 6867538"/>
              <a:gd name="connsiteX14" fmla="*/ 3544932 w 4452285"/>
              <a:gd name="connsiteY14" fmla="*/ 1249043 h 6867538"/>
              <a:gd name="connsiteX15" fmla="*/ 3516068 w 4452285"/>
              <a:gd name="connsiteY15" fmla="*/ 1271691 h 6867538"/>
              <a:gd name="connsiteX16" fmla="*/ 3482482 w 4452285"/>
              <a:gd name="connsiteY16" fmla="*/ 1304023 h 6867538"/>
              <a:gd name="connsiteX17" fmla="*/ 3475110 w 4452285"/>
              <a:gd name="connsiteY17" fmla="*/ 1310513 h 6867538"/>
              <a:gd name="connsiteX18" fmla="*/ 3470272 w 4452285"/>
              <a:gd name="connsiteY18" fmla="*/ 1315777 h 6867538"/>
              <a:gd name="connsiteX19" fmla="*/ 3441143 w 4452285"/>
              <a:gd name="connsiteY19" fmla="*/ 1343818 h 6867538"/>
              <a:gd name="connsiteX20" fmla="*/ 3149787 w 4452285"/>
              <a:gd name="connsiteY20" fmla="*/ 1918038 h 6867538"/>
              <a:gd name="connsiteX21" fmla="*/ 3900434 w 4452285"/>
              <a:gd name="connsiteY21" fmla="*/ 4108658 h 6867538"/>
              <a:gd name="connsiteX22" fmla="*/ 4413743 w 4452285"/>
              <a:gd name="connsiteY22" fmla="*/ 4629443 h 6867538"/>
              <a:gd name="connsiteX23" fmla="*/ 4449807 w 4452285"/>
              <a:gd name="connsiteY23" fmla="*/ 4651642 h 6867538"/>
              <a:gd name="connsiteX24" fmla="*/ 4451395 w 4452285"/>
              <a:gd name="connsiteY24" fmla="*/ 6792445 h 6867538"/>
              <a:gd name="connsiteX25" fmla="*/ 4452189 w 4452285"/>
              <a:gd name="connsiteY25" fmla="*/ 6862771 h 6867538"/>
              <a:gd name="connsiteX26" fmla="*/ 45 w 4452285"/>
              <a:gd name="connsiteY26" fmla="*/ 6867538 h 6867538"/>
              <a:gd name="connsiteX27" fmla="*/ 3219 w 4452285"/>
              <a:gd name="connsiteY27" fmla="*/ 6749524 h 6867538"/>
              <a:gd name="connsiteX28" fmla="*/ 4807 w 4452285"/>
              <a:gd name="connsiteY28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75228 w 4452285"/>
              <a:gd name="connsiteY6" fmla="*/ 1109388 h 6867538"/>
              <a:gd name="connsiteX7" fmla="*/ 3742793 w 4452285"/>
              <a:gd name="connsiteY7" fmla="*/ 1122874 h 6867538"/>
              <a:gd name="connsiteX8" fmla="*/ 3647359 w 4452285"/>
              <a:gd name="connsiteY8" fmla="*/ 1174793 h 6867538"/>
              <a:gd name="connsiteX9" fmla="*/ 3623591 w 4452285"/>
              <a:gd name="connsiteY9" fmla="*/ 1191487 h 6867538"/>
              <a:gd name="connsiteX10" fmla="*/ 3597084 w 4452285"/>
              <a:gd name="connsiteY10" fmla="*/ 1208122 h 6867538"/>
              <a:gd name="connsiteX11" fmla="*/ 3573011 w 4452285"/>
              <a:gd name="connsiteY11" fmla="*/ 1227011 h 6867538"/>
              <a:gd name="connsiteX12" fmla="*/ 3557913 w 4452285"/>
              <a:gd name="connsiteY12" fmla="*/ 1237615 h 6867538"/>
              <a:gd name="connsiteX13" fmla="*/ 3544932 w 4452285"/>
              <a:gd name="connsiteY13" fmla="*/ 1249043 h 6867538"/>
              <a:gd name="connsiteX14" fmla="*/ 3516068 w 4452285"/>
              <a:gd name="connsiteY14" fmla="*/ 1271691 h 6867538"/>
              <a:gd name="connsiteX15" fmla="*/ 3482482 w 4452285"/>
              <a:gd name="connsiteY15" fmla="*/ 1304023 h 6867538"/>
              <a:gd name="connsiteX16" fmla="*/ 3475110 w 4452285"/>
              <a:gd name="connsiteY16" fmla="*/ 1310513 h 6867538"/>
              <a:gd name="connsiteX17" fmla="*/ 3470272 w 4452285"/>
              <a:gd name="connsiteY17" fmla="*/ 1315777 h 6867538"/>
              <a:gd name="connsiteX18" fmla="*/ 3441143 w 4452285"/>
              <a:gd name="connsiteY18" fmla="*/ 1343818 h 6867538"/>
              <a:gd name="connsiteX19" fmla="*/ 3149787 w 4452285"/>
              <a:gd name="connsiteY19" fmla="*/ 1918038 h 6867538"/>
              <a:gd name="connsiteX20" fmla="*/ 3900434 w 4452285"/>
              <a:gd name="connsiteY20" fmla="*/ 4108658 h 6867538"/>
              <a:gd name="connsiteX21" fmla="*/ 4413743 w 4452285"/>
              <a:gd name="connsiteY21" fmla="*/ 4629443 h 6867538"/>
              <a:gd name="connsiteX22" fmla="*/ 4449807 w 4452285"/>
              <a:gd name="connsiteY22" fmla="*/ 4651642 h 6867538"/>
              <a:gd name="connsiteX23" fmla="*/ 4451395 w 4452285"/>
              <a:gd name="connsiteY23" fmla="*/ 6792445 h 6867538"/>
              <a:gd name="connsiteX24" fmla="*/ 4452189 w 4452285"/>
              <a:gd name="connsiteY24" fmla="*/ 6862771 h 6867538"/>
              <a:gd name="connsiteX25" fmla="*/ 45 w 4452285"/>
              <a:gd name="connsiteY25" fmla="*/ 6867538 h 6867538"/>
              <a:gd name="connsiteX26" fmla="*/ 3219 w 4452285"/>
              <a:gd name="connsiteY26" fmla="*/ 6749524 h 6867538"/>
              <a:gd name="connsiteX27" fmla="*/ 4807 w 4452285"/>
              <a:gd name="connsiteY27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86941 w 4452285"/>
              <a:gd name="connsiteY5" fmla="*/ 1105266 h 6867538"/>
              <a:gd name="connsiteX6" fmla="*/ 3742793 w 4452285"/>
              <a:gd name="connsiteY6" fmla="*/ 1122874 h 6867538"/>
              <a:gd name="connsiteX7" fmla="*/ 3647359 w 4452285"/>
              <a:gd name="connsiteY7" fmla="*/ 1174793 h 6867538"/>
              <a:gd name="connsiteX8" fmla="*/ 3623591 w 4452285"/>
              <a:gd name="connsiteY8" fmla="*/ 1191487 h 6867538"/>
              <a:gd name="connsiteX9" fmla="*/ 3597084 w 4452285"/>
              <a:gd name="connsiteY9" fmla="*/ 1208122 h 6867538"/>
              <a:gd name="connsiteX10" fmla="*/ 3573011 w 4452285"/>
              <a:gd name="connsiteY10" fmla="*/ 1227011 h 6867538"/>
              <a:gd name="connsiteX11" fmla="*/ 3557913 w 4452285"/>
              <a:gd name="connsiteY11" fmla="*/ 1237615 h 6867538"/>
              <a:gd name="connsiteX12" fmla="*/ 3544932 w 4452285"/>
              <a:gd name="connsiteY12" fmla="*/ 1249043 h 6867538"/>
              <a:gd name="connsiteX13" fmla="*/ 3516068 w 4452285"/>
              <a:gd name="connsiteY13" fmla="*/ 1271691 h 6867538"/>
              <a:gd name="connsiteX14" fmla="*/ 3482482 w 4452285"/>
              <a:gd name="connsiteY14" fmla="*/ 1304023 h 6867538"/>
              <a:gd name="connsiteX15" fmla="*/ 3475110 w 4452285"/>
              <a:gd name="connsiteY15" fmla="*/ 1310513 h 6867538"/>
              <a:gd name="connsiteX16" fmla="*/ 3470272 w 4452285"/>
              <a:gd name="connsiteY16" fmla="*/ 1315777 h 6867538"/>
              <a:gd name="connsiteX17" fmla="*/ 3441143 w 4452285"/>
              <a:gd name="connsiteY17" fmla="*/ 1343818 h 6867538"/>
              <a:gd name="connsiteX18" fmla="*/ 3149787 w 4452285"/>
              <a:gd name="connsiteY18" fmla="*/ 1918038 h 6867538"/>
              <a:gd name="connsiteX19" fmla="*/ 3900434 w 4452285"/>
              <a:gd name="connsiteY19" fmla="*/ 4108658 h 6867538"/>
              <a:gd name="connsiteX20" fmla="*/ 4413743 w 4452285"/>
              <a:gd name="connsiteY20" fmla="*/ 4629443 h 6867538"/>
              <a:gd name="connsiteX21" fmla="*/ 4449807 w 4452285"/>
              <a:gd name="connsiteY21" fmla="*/ 4651642 h 6867538"/>
              <a:gd name="connsiteX22" fmla="*/ 4451395 w 4452285"/>
              <a:gd name="connsiteY22" fmla="*/ 6792445 h 6867538"/>
              <a:gd name="connsiteX23" fmla="*/ 4452189 w 4452285"/>
              <a:gd name="connsiteY23" fmla="*/ 6862771 h 6867538"/>
              <a:gd name="connsiteX24" fmla="*/ 45 w 4452285"/>
              <a:gd name="connsiteY24" fmla="*/ 6867538 h 6867538"/>
              <a:gd name="connsiteX25" fmla="*/ 3219 w 4452285"/>
              <a:gd name="connsiteY25" fmla="*/ 6749524 h 6867538"/>
              <a:gd name="connsiteX26" fmla="*/ 4807 w 4452285"/>
              <a:gd name="connsiteY26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57913 w 4452285"/>
              <a:gd name="connsiteY10" fmla="*/ 1237615 h 6867538"/>
              <a:gd name="connsiteX11" fmla="*/ 3544932 w 4452285"/>
              <a:gd name="connsiteY11" fmla="*/ 1249043 h 6867538"/>
              <a:gd name="connsiteX12" fmla="*/ 3516068 w 4452285"/>
              <a:gd name="connsiteY12" fmla="*/ 1271691 h 6867538"/>
              <a:gd name="connsiteX13" fmla="*/ 3482482 w 4452285"/>
              <a:gd name="connsiteY13" fmla="*/ 1304023 h 6867538"/>
              <a:gd name="connsiteX14" fmla="*/ 3475110 w 4452285"/>
              <a:gd name="connsiteY14" fmla="*/ 1310513 h 6867538"/>
              <a:gd name="connsiteX15" fmla="*/ 3470272 w 4452285"/>
              <a:gd name="connsiteY15" fmla="*/ 1315777 h 6867538"/>
              <a:gd name="connsiteX16" fmla="*/ 3441143 w 4452285"/>
              <a:gd name="connsiteY16" fmla="*/ 1343818 h 6867538"/>
              <a:gd name="connsiteX17" fmla="*/ 3149787 w 4452285"/>
              <a:gd name="connsiteY17" fmla="*/ 1918038 h 6867538"/>
              <a:gd name="connsiteX18" fmla="*/ 3900434 w 4452285"/>
              <a:gd name="connsiteY18" fmla="*/ 4108658 h 6867538"/>
              <a:gd name="connsiteX19" fmla="*/ 4413743 w 4452285"/>
              <a:gd name="connsiteY19" fmla="*/ 4629443 h 6867538"/>
              <a:gd name="connsiteX20" fmla="*/ 4449807 w 4452285"/>
              <a:gd name="connsiteY20" fmla="*/ 4651642 h 6867538"/>
              <a:gd name="connsiteX21" fmla="*/ 4451395 w 4452285"/>
              <a:gd name="connsiteY21" fmla="*/ 6792445 h 6867538"/>
              <a:gd name="connsiteX22" fmla="*/ 4452189 w 4452285"/>
              <a:gd name="connsiteY22" fmla="*/ 6862771 h 6867538"/>
              <a:gd name="connsiteX23" fmla="*/ 45 w 4452285"/>
              <a:gd name="connsiteY23" fmla="*/ 6867538 h 6867538"/>
              <a:gd name="connsiteX24" fmla="*/ 3219 w 4452285"/>
              <a:gd name="connsiteY24" fmla="*/ 6749524 h 6867538"/>
              <a:gd name="connsiteX25" fmla="*/ 4807 w 4452285"/>
              <a:gd name="connsiteY25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57913 w 4452285"/>
              <a:gd name="connsiteY10" fmla="*/ 1237615 h 6867538"/>
              <a:gd name="connsiteX11" fmla="*/ 3544932 w 4452285"/>
              <a:gd name="connsiteY11" fmla="*/ 1249043 h 6867538"/>
              <a:gd name="connsiteX12" fmla="*/ 3516068 w 4452285"/>
              <a:gd name="connsiteY12" fmla="*/ 1271691 h 6867538"/>
              <a:gd name="connsiteX13" fmla="*/ 3482482 w 4452285"/>
              <a:gd name="connsiteY13" fmla="*/ 1304023 h 6867538"/>
              <a:gd name="connsiteX14" fmla="*/ 3475110 w 4452285"/>
              <a:gd name="connsiteY14" fmla="*/ 1310513 h 6867538"/>
              <a:gd name="connsiteX15" fmla="*/ 3441143 w 4452285"/>
              <a:gd name="connsiteY15" fmla="*/ 1343818 h 6867538"/>
              <a:gd name="connsiteX16" fmla="*/ 3149787 w 4452285"/>
              <a:gd name="connsiteY16" fmla="*/ 1918038 h 6867538"/>
              <a:gd name="connsiteX17" fmla="*/ 3900434 w 4452285"/>
              <a:gd name="connsiteY17" fmla="*/ 4108658 h 6867538"/>
              <a:gd name="connsiteX18" fmla="*/ 4413743 w 4452285"/>
              <a:gd name="connsiteY18" fmla="*/ 4629443 h 6867538"/>
              <a:gd name="connsiteX19" fmla="*/ 4449807 w 4452285"/>
              <a:gd name="connsiteY19" fmla="*/ 4651642 h 6867538"/>
              <a:gd name="connsiteX20" fmla="*/ 4451395 w 4452285"/>
              <a:gd name="connsiteY20" fmla="*/ 6792445 h 6867538"/>
              <a:gd name="connsiteX21" fmla="*/ 4452189 w 4452285"/>
              <a:gd name="connsiteY21" fmla="*/ 6862771 h 6867538"/>
              <a:gd name="connsiteX22" fmla="*/ 45 w 4452285"/>
              <a:gd name="connsiteY22" fmla="*/ 6867538 h 6867538"/>
              <a:gd name="connsiteX23" fmla="*/ 3219 w 4452285"/>
              <a:gd name="connsiteY23" fmla="*/ 6749524 h 6867538"/>
              <a:gd name="connsiteX24" fmla="*/ 4807 w 4452285"/>
              <a:gd name="connsiteY24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57913 w 4452285"/>
              <a:gd name="connsiteY10" fmla="*/ 1237615 h 6867538"/>
              <a:gd name="connsiteX11" fmla="*/ 3544932 w 4452285"/>
              <a:gd name="connsiteY11" fmla="*/ 1249043 h 6867538"/>
              <a:gd name="connsiteX12" fmla="*/ 3516068 w 4452285"/>
              <a:gd name="connsiteY12" fmla="*/ 1271691 h 6867538"/>
              <a:gd name="connsiteX13" fmla="*/ 3482482 w 4452285"/>
              <a:gd name="connsiteY13" fmla="*/ 1304023 h 6867538"/>
              <a:gd name="connsiteX14" fmla="*/ 3441143 w 4452285"/>
              <a:gd name="connsiteY14" fmla="*/ 1343818 h 6867538"/>
              <a:gd name="connsiteX15" fmla="*/ 3149787 w 4452285"/>
              <a:gd name="connsiteY15" fmla="*/ 1918038 h 6867538"/>
              <a:gd name="connsiteX16" fmla="*/ 3900434 w 4452285"/>
              <a:gd name="connsiteY16" fmla="*/ 4108658 h 6867538"/>
              <a:gd name="connsiteX17" fmla="*/ 4413743 w 4452285"/>
              <a:gd name="connsiteY17" fmla="*/ 4629443 h 6867538"/>
              <a:gd name="connsiteX18" fmla="*/ 4449807 w 4452285"/>
              <a:gd name="connsiteY18" fmla="*/ 4651642 h 6867538"/>
              <a:gd name="connsiteX19" fmla="*/ 4451395 w 4452285"/>
              <a:gd name="connsiteY19" fmla="*/ 6792445 h 6867538"/>
              <a:gd name="connsiteX20" fmla="*/ 4452189 w 4452285"/>
              <a:gd name="connsiteY20" fmla="*/ 6862771 h 6867538"/>
              <a:gd name="connsiteX21" fmla="*/ 45 w 4452285"/>
              <a:gd name="connsiteY21" fmla="*/ 6867538 h 6867538"/>
              <a:gd name="connsiteX22" fmla="*/ 3219 w 4452285"/>
              <a:gd name="connsiteY22" fmla="*/ 6749524 h 6867538"/>
              <a:gd name="connsiteX23" fmla="*/ 4807 w 4452285"/>
              <a:gd name="connsiteY23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57913 w 4452285"/>
              <a:gd name="connsiteY10" fmla="*/ 1237615 h 6867538"/>
              <a:gd name="connsiteX11" fmla="*/ 3516068 w 4452285"/>
              <a:gd name="connsiteY11" fmla="*/ 1271691 h 6867538"/>
              <a:gd name="connsiteX12" fmla="*/ 3482482 w 4452285"/>
              <a:gd name="connsiteY12" fmla="*/ 1304023 h 6867538"/>
              <a:gd name="connsiteX13" fmla="*/ 3441143 w 4452285"/>
              <a:gd name="connsiteY13" fmla="*/ 1343818 h 6867538"/>
              <a:gd name="connsiteX14" fmla="*/ 3149787 w 4452285"/>
              <a:gd name="connsiteY14" fmla="*/ 1918038 h 6867538"/>
              <a:gd name="connsiteX15" fmla="*/ 3900434 w 4452285"/>
              <a:gd name="connsiteY15" fmla="*/ 4108658 h 6867538"/>
              <a:gd name="connsiteX16" fmla="*/ 4413743 w 4452285"/>
              <a:gd name="connsiteY16" fmla="*/ 4629443 h 6867538"/>
              <a:gd name="connsiteX17" fmla="*/ 4449807 w 4452285"/>
              <a:gd name="connsiteY17" fmla="*/ 4651642 h 6867538"/>
              <a:gd name="connsiteX18" fmla="*/ 4451395 w 4452285"/>
              <a:gd name="connsiteY18" fmla="*/ 6792445 h 6867538"/>
              <a:gd name="connsiteX19" fmla="*/ 4452189 w 4452285"/>
              <a:gd name="connsiteY19" fmla="*/ 6862771 h 6867538"/>
              <a:gd name="connsiteX20" fmla="*/ 45 w 4452285"/>
              <a:gd name="connsiteY20" fmla="*/ 6867538 h 6867538"/>
              <a:gd name="connsiteX21" fmla="*/ 3219 w 4452285"/>
              <a:gd name="connsiteY21" fmla="*/ 6749524 h 6867538"/>
              <a:gd name="connsiteX22" fmla="*/ 4807 w 4452285"/>
              <a:gd name="connsiteY22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623591 w 4452285"/>
              <a:gd name="connsiteY7" fmla="*/ 1191487 h 6867538"/>
              <a:gd name="connsiteX8" fmla="*/ 3597084 w 4452285"/>
              <a:gd name="connsiteY8" fmla="*/ 1208122 h 6867538"/>
              <a:gd name="connsiteX9" fmla="*/ 3573011 w 4452285"/>
              <a:gd name="connsiteY9" fmla="*/ 1227011 h 6867538"/>
              <a:gd name="connsiteX10" fmla="*/ 3516068 w 4452285"/>
              <a:gd name="connsiteY10" fmla="*/ 1271691 h 6867538"/>
              <a:gd name="connsiteX11" fmla="*/ 3482482 w 4452285"/>
              <a:gd name="connsiteY11" fmla="*/ 1304023 h 6867538"/>
              <a:gd name="connsiteX12" fmla="*/ 3441143 w 4452285"/>
              <a:gd name="connsiteY12" fmla="*/ 1343818 h 6867538"/>
              <a:gd name="connsiteX13" fmla="*/ 3149787 w 4452285"/>
              <a:gd name="connsiteY13" fmla="*/ 1918038 h 6867538"/>
              <a:gd name="connsiteX14" fmla="*/ 3900434 w 4452285"/>
              <a:gd name="connsiteY14" fmla="*/ 4108658 h 6867538"/>
              <a:gd name="connsiteX15" fmla="*/ 4413743 w 4452285"/>
              <a:gd name="connsiteY15" fmla="*/ 4629443 h 6867538"/>
              <a:gd name="connsiteX16" fmla="*/ 4449807 w 4452285"/>
              <a:gd name="connsiteY16" fmla="*/ 4651642 h 6867538"/>
              <a:gd name="connsiteX17" fmla="*/ 4451395 w 4452285"/>
              <a:gd name="connsiteY17" fmla="*/ 6792445 h 6867538"/>
              <a:gd name="connsiteX18" fmla="*/ 4452189 w 4452285"/>
              <a:gd name="connsiteY18" fmla="*/ 6862771 h 6867538"/>
              <a:gd name="connsiteX19" fmla="*/ 45 w 4452285"/>
              <a:gd name="connsiteY19" fmla="*/ 6867538 h 6867538"/>
              <a:gd name="connsiteX20" fmla="*/ 3219 w 4452285"/>
              <a:gd name="connsiteY20" fmla="*/ 6749524 h 6867538"/>
              <a:gd name="connsiteX21" fmla="*/ 4807 w 4452285"/>
              <a:gd name="connsiteY21" fmla="*/ 0 h 6867538"/>
              <a:gd name="connsiteX0" fmla="*/ 4807 w 4452285"/>
              <a:gd name="connsiteY0" fmla="*/ 0 h 6867538"/>
              <a:gd name="connsiteX1" fmla="*/ 4449807 w 4452285"/>
              <a:gd name="connsiteY1" fmla="*/ 0 h 6867538"/>
              <a:gd name="connsiteX2" fmla="*/ 4449807 w 4452285"/>
              <a:gd name="connsiteY2" fmla="*/ 1104781 h 6867538"/>
              <a:gd name="connsiteX3" fmla="*/ 4404398 w 4452285"/>
              <a:gd name="connsiteY3" fmla="*/ 1086630 h 6867538"/>
              <a:gd name="connsiteX4" fmla="*/ 3843559 w 4452285"/>
              <a:gd name="connsiteY4" fmla="*/ 1082684 h 6867538"/>
              <a:gd name="connsiteX5" fmla="*/ 3742793 w 4452285"/>
              <a:gd name="connsiteY5" fmla="*/ 1122874 h 6867538"/>
              <a:gd name="connsiteX6" fmla="*/ 3647359 w 4452285"/>
              <a:gd name="connsiteY6" fmla="*/ 1174793 h 6867538"/>
              <a:gd name="connsiteX7" fmla="*/ 3597084 w 4452285"/>
              <a:gd name="connsiteY7" fmla="*/ 1208122 h 6867538"/>
              <a:gd name="connsiteX8" fmla="*/ 3573011 w 4452285"/>
              <a:gd name="connsiteY8" fmla="*/ 1227011 h 6867538"/>
              <a:gd name="connsiteX9" fmla="*/ 3516068 w 4452285"/>
              <a:gd name="connsiteY9" fmla="*/ 1271691 h 6867538"/>
              <a:gd name="connsiteX10" fmla="*/ 3482482 w 4452285"/>
              <a:gd name="connsiteY10" fmla="*/ 1304023 h 6867538"/>
              <a:gd name="connsiteX11" fmla="*/ 3441143 w 4452285"/>
              <a:gd name="connsiteY11" fmla="*/ 1343818 h 6867538"/>
              <a:gd name="connsiteX12" fmla="*/ 3149787 w 4452285"/>
              <a:gd name="connsiteY12" fmla="*/ 1918038 h 6867538"/>
              <a:gd name="connsiteX13" fmla="*/ 3900434 w 4452285"/>
              <a:gd name="connsiteY13" fmla="*/ 4108658 h 6867538"/>
              <a:gd name="connsiteX14" fmla="*/ 4413743 w 4452285"/>
              <a:gd name="connsiteY14" fmla="*/ 4629443 h 6867538"/>
              <a:gd name="connsiteX15" fmla="*/ 4449807 w 4452285"/>
              <a:gd name="connsiteY15" fmla="*/ 4651642 h 6867538"/>
              <a:gd name="connsiteX16" fmla="*/ 4451395 w 4452285"/>
              <a:gd name="connsiteY16" fmla="*/ 6792445 h 6867538"/>
              <a:gd name="connsiteX17" fmla="*/ 4452189 w 4452285"/>
              <a:gd name="connsiteY17" fmla="*/ 6862771 h 6867538"/>
              <a:gd name="connsiteX18" fmla="*/ 45 w 4452285"/>
              <a:gd name="connsiteY18" fmla="*/ 6867538 h 6867538"/>
              <a:gd name="connsiteX19" fmla="*/ 3219 w 4452285"/>
              <a:gd name="connsiteY19" fmla="*/ 6749524 h 6867538"/>
              <a:gd name="connsiteX20" fmla="*/ 4807 w 4452285"/>
              <a:gd name="connsiteY20" fmla="*/ 0 h 686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452285" h="6867538">
                <a:moveTo>
                  <a:pt x="4807" y="0"/>
                </a:moveTo>
                <a:lnTo>
                  <a:pt x="4449807" y="0"/>
                </a:lnTo>
                <a:lnTo>
                  <a:pt x="4449807" y="1104781"/>
                </a:lnTo>
                <a:lnTo>
                  <a:pt x="4404398" y="1086630"/>
                </a:lnTo>
                <a:cubicBezTo>
                  <a:pt x="4207082" y="1021509"/>
                  <a:pt x="4015580" y="1025937"/>
                  <a:pt x="3843559" y="1082684"/>
                </a:cubicBezTo>
                <a:lnTo>
                  <a:pt x="3742793" y="1122874"/>
                </a:lnTo>
                <a:lnTo>
                  <a:pt x="3647359" y="1174793"/>
                </a:lnTo>
                <a:lnTo>
                  <a:pt x="3597084" y="1208122"/>
                </a:lnTo>
                <a:lnTo>
                  <a:pt x="3573011" y="1227011"/>
                </a:lnTo>
                <a:lnTo>
                  <a:pt x="3516068" y="1271691"/>
                </a:lnTo>
                <a:lnTo>
                  <a:pt x="3482482" y="1304023"/>
                </a:lnTo>
                <a:lnTo>
                  <a:pt x="3441143" y="1343818"/>
                </a:lnTo>
                <a:cubicBezTo>
                  <a:pt x="3297746" y="1496173"/>
                  <a:pt x="3194140" y="1695776"/>
                  <a:pt x="3149787" y="1918038"/>
                </a:cubicBezTo>
                <a:cubicBezTo>
                  <a:pt x="3023628" y="2550252"/>
                  <a:pt x="3471493" y="3536504"/>
                  <a:pt x="3900434" y="4108658"/>
                </a:cubicBezTo>
                <a:cubicBezTo>
                  <a:pt x="4056555" y="4317288"/>
                  <a:pt x="4230024" y="4500630"/>
                  <a:pt x="4413743" y="4629443"/>
                </a:cubicBezTo>
                <a:lnTo>
                  <a:pt x="4449807" y="4651642"/>
                </a:lnTo>
                <a:cubicBezTo>
                  <a:pt x="4450336" y="5365243"/>
                  <a:pt x="4450866" y="6078844"/>
                  <a:pt x="4451395" y="6792445"/>
                </a:cubicBezTo>
                <a:cubicBezTo>
                  <a:pt x="4450866" y="6814297"/>
                  <a:pt x="4452718" y="6840919"/>
                  <a:pt x="4452189" y="6862771"/>
                </a:cubicBezTo>
                <a:lnTo>
                  <a:pt x="45" y="6867538"/>
                </a:lnTo>
                <a:cubicBezTo>
                  <a:pt x="-484" y="6831379"/>
                  <a:pt x="3748" y="6785683"/>
                  <a:pt x="3219" y="6749524"/>
                </a:cubicBezTo>
                <a:cubicBezTo>
                  <a:pt x="3748" y="4499683"/>
                  <a:pt x="4278" y="2249841"/>
                  <a:pt x="4807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414C06C-C3FC-4083-A815-2FF3B119D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8576" y="2125167"/>
            <a:ext cx="6658864" cy="1344042"/>
          </a:xfrm>
        </p:spPr>
        <p:txBody>
          <a:bodyPr lIns="0" anchor="ctr"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634F5A2-CBEC-4698-9A76-4E72F8CF31A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608576" y="3607373"/>
            <a:ext cx="6658864" cy="429642"/>
          </a:xfrm>
        </p:spPr>
        <p:txBody>
          <a:bodyPr lIns="0"/>
          <a:lstStyle>
            <a:lvl1pPr marL="0" indent="0">
              <a:lnSpc>
                <a:spcPct val="100000"/>
              </a:lnSpc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(Author, Date and Location) edit here</a:t>
            </a:r>
          </a:p>
        </p:txBody>
      </p:sp>
    </p:spTree>
    <p:extLst>
      <p:ext uri="{BB962C8B-B14F-4D97-AF65-F5344CB8AC3E}">
        <p14:creationId xmlns:p14="http://schemas.microsoft.com/office/powerpoint/2010/main" val="37849897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C7507BE-28BB-4BC7-B2C4-9C02AD519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2375" y="1754760"/>
            <a:ext cx="6991881" cy="1512168"/>
          </a:xfrm>
        </p:spPr>
        <p:txBody>
          <a:bodyPr lIns="0" anchor="ctr"/>
          <a:lstStyle>
            <a:lvl1pPr>
              <a:defRPr lang="de-DE" sz="2200" b="1" i="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Add cover titl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4DFC2A0-06FD-4669-B5C9-BB5967E70C3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552373" y="3440793"/>
            <a:ext cx="6991200" cy="24841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accent2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(Author, Date and Location) edit here</a:t>
            </a:r>
          </a:p>
        </p:txBody>
      </p:sp>
    </p:spTree>
    <p:extLst>
      <p:ext uri="{BB962C8B-B14F-4D97-AF65-F5344CB8AC3E}">
        <p14:creationId xmlns:p14="http://schemas.microsoft.com/office/powerpoint/2010/main" val="6466961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464000" y="1409701"/>
            <a:ext cx="7419600" cy="4616699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>
              <a:lnSpc>
                <a:spcPct val="100000"/>
              </a:lnSpc>
              <a:spcBef>
                <a:spcPts val="1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b="0">
                <a:solidFill>
                  <a:schemeClr val="tx1"/>
                </a:solidFill>
              </a:defRPr>
            </a:lvl1pPr>
            <a:lvl2pPr marL="360000">
              <a:lnSpc>
                <a:spcPct val="100000"/>
              </a:lnSpc>
              <a:spcBef>
                <a:spcPts val="2400"/>
              </a:spcBef>
              <a:defRPr b="0">
                <a:solidFill>
                  <a:schemeClr val="tx1"/>
                </a:solidFill>
              </a:defRPr>
            </a:lvl2pPr>
            <a:lvl3pPr marL="540000">
              <a:lnSpc>
                <a:spcPct val="100000"/>
              </a:lnSpc>
              <a:spcBef>
                <a:spcPts val="1500"/>
              </a:spcBef>
              <a:defRPr b="0">
                <a:solidFill>
                  <a:schemeClr val="tx1"/>
                </a:solidFill>
              </a:defRPr>
            </a:lvl3pPr>
            <a:lvl4pPr marL="720000">
              <a:lnSpc>
                <a:spcPct val="100000"/>
              </a:lnSpc>
              <a:spcBef>
                <a:spcPts val="1500"/>
              </a:spcBef>
              <a:defRPr b="0">
                <a:solidFill>
                  <a:schemeClr val="tx1"/>
                </a:solidFill>
              </a:defRPr>
            </a:lvl4pPr>
            <a:lvl5pPr marL="900000">
              <a:lnSpc>
                <a:spcPct val="100000"/>
              </a:lnSpc>
              <a:spcBef>
                <a:spcPts val="1500"/>
              </a:spcBef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BEBC3F-22BC-4E0C-90E9-C0CFFD785D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0" y="473915"/>
            <a:ext cx="7425600" cy="385200"/>
          </a:xfrm>
        </p:spPr>
        <p:txBody>
          <a:bodyPr lIns="72000"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F3C241-DB43-4648-9402-3B7D2556E6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61602" y="822550"/>
            <a:ext cx="7425600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</p:spTree>
    <p:extLst>
      <p:ext uri="{BB962C8B-B14F-4D97-AF65-F5344CB8AC3E}">
        <p14:creationId xmlns:p14="http://schemas.microsoft.com/office/powerpoint/2010/main" val="2730992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1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Cover_A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46AFDD9A-DB74-460D-B7C9-04B291E170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3886200"/>
            <a:ext cx="9482673" cy="454303"/>
          </a:xfrm>
        </p:spPr>
        <p:txBody>
          <a:bodyPr lIns="72000" anchor="t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Title Edit He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EA634F-85E5-40B8-9A00-165F44E4A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5233" y="4340502"/>
            <a:ext cx="9482241" cy="353558"/>
          </a:xfrm>
          <a:prstGeom prst="rect">
            <a:avLst/>
          </a:prstGeom>
        </p:spPr>
        <p:txBody>
          <a:bodyPr lIns="7200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Add sub-title</a:t>
            </a:r>
          </a:p>
        </p:txBody>
      </p:sp>
    </p:spTree>
    <p:extLst>
      <p:ext uri="{BB962C8B-B14F-4D97-AF65-F5344CB8AC3E}">
        <p14:creationId xmlns:p14="http://schemas.microsoft.com/office/powerpoint/2010/main" val="4189257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Cover_B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1C66558D-8CB5-4CB4-A680-EA044F253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8318" y="2546760"/>
            <a:ext cx="6355080" cy="1175234"/>
          </a:xfrm>
        </p:spPr>
        <p:txBody>
          <a:bodyPr lIns="72000" anchor="ctr"/>
          <a:lstStyle>
            <a:lvl1pPr>
              <a:defRPr lang="de-DE" b="1" i="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Add cover titl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32DB20D-89FC-49D1-A81D-604DA36A9F2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798318" y="3724126"/>
            <a:ext cx="6354000" cy="667569"/>
          </a:xfrm>
          <a:prstGeom prst="rect">
            <a:avLst/>
          </a:prstGeom>
        </p:spPr>
        <p:txBody>
          <a:bodyPr lIns="7200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200" b="0">
                <a:solidFill>
                  <a:schemeClr val="accent2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Regular</a:t>
            </a:r>
          </a:p>
        </p:txBody>
      </p:sp>
    </p:spTree>
    <p:extLst>
      <p:ext uri="{BB962C8B-B14F-4D97-AF65-F5344CB8AC3E}">
        <p14:creationId xmlns:p14="http://schemas.microsoft.com/office/powerpoint/2010/main" val="41299504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_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2" y="3149601"/>
            <a:ext cx="8723501" cy="681795"/>
          </a:xfrm>
        </p:spPr>
        <p:txBody>
          <a:bodyPr vert="horz" lIns="72000" tIns="45720" rIns="0" bIns="45720" rtlCol="0" anchor="b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55">
            <a:extLst>
              <a:ext uri="{FF2B5EF4-FFF2-40B4-BE49-F238E27FC236}">
                <a16:creationId xmlns:a16="http://schemas.microsoft.com/office/drawing/2014/main" id="{7E23BF8E-E312-41CB-B657-0E7298E54C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9088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0" name="Text Placeholder 55">
            <a:extLst>
              <a:ext uri="{FF2B5EF4-FFF2-40B4-BE49-F238E27FC236}">
                <a16:creationId xmlns:a16="http://schemas.microsoft.com/office/drawing/2014/main" id="{C3ABF3AC-33F3-41BE-83D3-FB94BAF964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83125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1" name="Text Placeholder 55">
            <a:extLst>
              <a:ext uri="{FF2B5EF4-FFF2-40B4-BE49-F238E27FC236}">
                <a16:creationId xmlns:a16="http://schemas.microsoft.com/office/drawing/2014/main" id="{4B0A10F9-3BC6-4C82-A963-9E84745824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7163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55">
            <a:extLst>
              <a:ext uri="{FF2B5EF4-FFF2-40B4-BE49-F238E27FC236}">
                <a16:creationId xmlns:a16="http://schemas.microsoft.com/office/drawing/2014/main" id="{06489AC6-B681-4ACF-AC46-CDB73C79DB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31200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3" name="Text Placeholder 55">
            <a:extLst>
              <a:ext uri="{FF2B5EF4-FFF2-40B4-BE49-F238E27FC236}">
                <a16:creationId xmlns:a16="http://schemas.microsoft.com/office/drawing/2014/main" id="{8AB1C752-6559-4E4E-8957-F5DD70BC8C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05237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55">
            <a:extLst>
              <a:ext uri="{FF2B5EF4-FFF2-40B4-BE49-F238E27FC236}">
                <a16:creationId xmlns:a16="http://schemas.microsoft.com/office/drawing/2014/main" id="{9551E6C9-D46A-4059-A473-B6DB1B306D7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79275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55">
            <a:extLst>
              <a:ext uri="{FF2B5EF4-FFF2-40B4-BE49-F238E27FC236}">
                <a16:creationId xmlns:a16="http://schemas.microsoft.com/office/drawing/2014/main" id="{2A0C03F1-960A-498C-B039-0176403CB36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453311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B5C129C0-524C-44F2-A5E9-CC1ACB3B16B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16200000">
            <a:off x="1039496" y="5143028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291A1692-539A-4486-BDDC-EDA7A7E22D5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16200000">
            <a:off x="2711905" y="5143028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7E562F9F-A213-440F-8FE0-BF5F1F214F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16200000">
            <a:off x="4384315" y="5143029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7C831883-A7CF-485F-973E-8255B1FE41E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16200000">
            <a:off x="6056724" y="5143029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5946AEC3-3E5A-49D1-BE04-67C94D6380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16200000">
            <a:off x="7729133" y="5143029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8" name="Text Placeholder 18">
            <a:extLst>
              <a:ext uri="{FF2B5EF4-FFF2-40B4-BE49-F238E27FC236}">
                <a16:creationId xmlns:a16="http://schemas.microsoft.com/office/drawing/2014/main" id="{2579A349-A044-4CCF-9B41-84989C4D835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9401543" y="5143029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C74936-CC71-4681-9FBA-DDEE63226099}"/>
              </a:ext>
            </a:extLst>
          </p:cNvPr>
          <p:cNvSpPr>
            <a:spLocks noGrp="1"/>
          </p:cNvSpPr>
          <p:nvPr>
            <p:ph type="dt" sz="half" idx="43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B4C8FD-11FE-4166-A93A-65C90603955F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F5618D-0254-41AD-9730-07F0383D54D0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E35AC8-1D1B-4507-90C9-5A1BCAD7D9C0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CF375FA-5B2F-45AA-948C-E17A18CC94F4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A0E4EFA-258F-418E-9CC0-114BA9D39F94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0DAAFFA-D28D-4380-8D91-BBDBE467CFE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04882" y="3871383"/>
            <a:ext cx="8722800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</p:spTree>
    <p:extLst>
      <p:ext uri="{BB962C8B-B14F-4D97-AF65-F5344CB8AC3E}">
        <p14:creationId xmlns:p14="http://schemas.microsoft.com/office/powerpoint/2010/main" val="8291015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Specific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0" y="4143030"/>
            <a:ext cx="5791199" cy="506243"/>
          </a:xfrm>
          <a:solidFill>
            <a:schemeClr val="bg1"/>
          </a:solidFill>
        </p:spPr>
        <p:txBody>
          <a:bodyPr lIns="164592" tIns="118872" rIns="137160" bIns="137160" anchor="t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odu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A98A83-87FB-450A-BB49-B75665F112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4610635"/>
            <a:ext cx="5791199" cy="704088"/>
          </a:xfrm>
          <a:prstGeom prst="rect">
            <a:avLst/>
          </a:prstGeom>
          <a:solidFill>
            <a:schemeClr val="bg1"/>
          </a:solidFill>
        </p:spPr>
        <p:txBody>
          <a:bodyPr vert="horz" lIns="164592" tIns="0" rIns="137160" bIns="137160" rtlCol="0" anchor="t">
            <a:noAutofit/>
          </a:bodyPr>
          <a:lstStyle>
            <a:lvl1pPr marL="0" indent="0">
              <a:buNone/>
              <a:defRPr lang="en-US" sz="2200" b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ub heading, non-bold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981CDE3-4822-4A79-BEFC-8A9E11B7B9E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96000" y="5348552"/>
            <a:ext cx="5791199" cy="248419"/>
          </a:xfrm>
          <a:prstGeom prst="rect">
            <a:avLst/>
          </a:prstGeom>
        </p:spPr>
        <p:txBody>
          <a:bodyPr lIns="165600" anchor="ctr"/>
          <a:lstStyle>
            <a:lvl1pPr marL="0" indent="0">
              <a:lnSpc>
                <a:spcPct val="100000"/>
              </a:lnSpc>
              <a:buFontTx/>
              <a:buNone/>
              <a:defRPr sz="1100" b="0">
                <a:solidFill>
                  <a:schemeClr val="accent2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(Author, Date and Location) edit here</a:t>
            </a:r>
          </a:p>
        </p:txBody>
      </p:sp>
    </p:spTree>
    <p:extLst>
      <p:ext uri="{BB962C8B-B14F-4D97-AF65-F5344CB8AC3E}">
        <p14:creationId xmlns:p14="http://schemas.microsoft.com/office/powerpoint/2010/main" val="27340339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wrap="square" lIns="7200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 b="0">
                <a:solidFill>
                  <a:schemeClr val="accent4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CD5C06-41D5-4FA0-AA07-41B8D1A01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7217F5-92CB-4993-A22A-04E04B6E292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800" y="1409700"/>
            <a:ext cx="115824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936296-25A5-4D14-86C1-4D793A28C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34A8E8-988C-4EF7-ADDB-B6E7403AC73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265306-D026-41CA-87EB-8CECDE169020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C1CF0B-81F9-4C7D-9A00-AF4544F129B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2E89ECE-B04C-4E3B-8D89-17696BC911D4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6F9BAC9-85C7-4471-9F1C-875218EB1627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73474E5-377C-4388-8175-D7F8D8F18AA3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54884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with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90C214-254C-44EE-8305-7FF21C01881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F58DF4FA-DCBC-426B-8B3C-F843B138AD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80840A-A17D-4123-9DD3-4D6B227E8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E99A0C9-F623-40D9-90E9-CB8E7B9EBB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EE6589-C258-4CDF-9B3E-91B21C464CAA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FAE7010-394F-4A44-904B-9B6D58B4953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396AE23D-FE80-48D2-81CD-3031CE4786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BE51D9B-04A7-4A9F-9DCA-72BCE116C263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8D9A8DB-4666-4ED9-85BD-D9D542A0FC3F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95A1627-8480-4AF4-8569-2D41B4443B21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919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464000" y="1409701"/>
            <a:ext cx="7419600" cy="4616699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>
              <a:lnSpc>
                <a:spcPct val="100000"/>
              </a:lnSpc>
              <a:spcBef>
                <a:spcPts val="1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b="0">
                <a:solidFill>
                  <a:schemeClr val="tx1"/>
                </a:solidFill>
              </a:defRPr>
            </a:lvl1pPr>
            <a:lvl2pPr marL="360000">
              <a:lnSpc>
                <a:spcPct val="100000"/>
              </a:lnSpc>
              <a:spcBef>
                <a:spcPts val="2400"/>
              </a:spcBef>
              <a:defRPr b="0">
                <a:solidFill>
                  <a:schemeClr val="tx1"/>
                </a:solidFill>
              </a:defRPr>
            </a:lvl2pPr>
            <a:lvl3pPr marL="540000">
              <a:lnSpc>
                <a:spcPct val="100000"/>
              </a:lnSpc>
              <a:spcBef>
                <a:spcPts val="1500"/>
              </a:spcBef>
              <a:defRPr b="0">
                <a:solidFill>
                  <a:schemeClr val="tx1"/>
                </a:solidFill>
              </a:defRPr>
            </a:lvl3pPr>
            <a:lvl4pPr marL="720000">
              <a:lnSpc>
                <a:spcPct val="100000"/>
              </a:lnSpc>
              <a:spcBef>
                <a:spcPts val="1500"/>
              </a:spcBef>
              <a:defRPr b="0">
                <a:solidFill>
                  <a:schemeClr val="tx1"/>
                </a:solidFill>
              </a:defRPr>
            </a:lvl4pPr>
            <a:lvl5pPr marL="900000">
              <a:lnSpc>
                <a:spcPct val="100000"/>
              </a:lnSpc>
              <a:spcBef>
                <a:spcPts val="1500"/>
              </a:spcBef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BEBC3F-22BC-4E0C-90E9-C0CFFD785D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0" y="473915"/>
            <a:ext cx="7425600" cy="385200"/>
          </a:xfrm>
        </p:spPr>
        <p:txBody>
          <a:bodyPr lIns="72000"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F3C241-DB43-4648-9402-3B7D2556E6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61602" y="822550"/>
            <a:ext cx="7425600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</p:spTree>
    <p:extLst>
      <p:ext uri="{BB962C8B-B14F-4D97-AF65-F5344CB8AC3E}">
        <p14:creationId xmlns:p14="http://schemas.microsoft.com/office/powerpoint/2010/main" val="222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1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with_Subtitle-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11599F85-BFE8-4107-874A-3FB050C32DB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04800" y="1409700"/>
            <a:ext cx="11582400" cy="4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Sub-Title size 14 bold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8BC8794-01EA-45A9-A853-3205E501B5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1E62B4-2CA2-4342-9C38-1FCD2DF15A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0" y="2024063"/>
            <a:ext cx="11582400" cy="3995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45DC30-DB2A-420A-88C5-ECCF9A96B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0240DB0-62BD-4B96-9359-0B11088D4E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9AF185C1-F5C4-4ACD-90F6-DDA8A8B2946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841416D-666E-4946-B062-BBD6E3D5DCC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2D70B42-2A0D-4AD1-B561-96432EF5BF5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D1CCEAD-6E30-4091-B66E-072660E71CD9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C362E38-BCC6-4358-9D69-81993BE6A617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9225511-70B9-47A3-8C32-62AF379BF897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77003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orient="horz" pos="127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with_Subtitl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11599F85-BFE8-4107-874A-3FB050C32DB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04800" y="1409700"/>
            <a:ext cx="11582400" cy="64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 dirty="0"/>
              <a:t>Sub-Title </a:t>
            </a:r>
            <a:r>
              <a:rPr lang="en-US"/>
              <a:t>size 18 </a:t>
            </a:r>
            <a:r>
              <a:rPr lang="en-US" dirty="0"/>
              <a:t>bold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8BC8794-01EA-45A9-A853-3205E501B5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1E62B4-2CA2-4342-9C38-1FCD2DF15A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0" y="2205038"/>
            <a:ext cx="11582400" cy="38147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3FAB37-A98A-47CF-8D6F-775273214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A85F5A0-EA50-47F0-9E12-B3F1ADE477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C68DDE-071D-4ED9-AB87-3B4BA28A8B3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8DF1747-C596-4089-9CBC-80916E6153F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17F55B1-C28B-4ACA-B683-A617FF19A08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F2566E8-B106-47DC-8054-28CDFDF7B9A4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9E239D5-B14A-4003-9850-8655F6BC7D95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DA9D726-264A-48B3-8C2A-E4A5482EE3F2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11735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orient="horz" pos="138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with_Subtitle_B-grey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11599F85-BFE8-4107-874A-3FB050C32DB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04800" y="1409700"/>
            <a:ext cx="11582400" cy="64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 dirty="0"/>
              <a:t>Sub-Title size 18 bold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8BC8794-01EA-45A9-A853-3205E501B5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1E62B4-2CA2-4342-9C38-1FCD2DF15A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0" y="2205038"/>
            <a:ext cx="11582400" cy="381476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382DF6-3ADA-4442-B419-4F20486FD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FDA037B-7A70-4AB3-ADDA-1F8F3EFDEE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FD3377C-B2BE-4664-A5E4-435249BEA15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AAD22D7-E827-481D-9FFB-FB51FD874B5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344E98D-71D9-4DD0-BA6D-3FFA3E48533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522D775-CA0B-46E9-ADC2-5B353C72F977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58DE871-C528-4F9B-9F40-482349DCD95A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8FBBAA1-6CE9-4375-B7BB-9A14466DF5A1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08300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orient="horz" pos="138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_w_ image_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9" imgH="357" progId="TCLayout.ActiveDocument.1">
                  <p:embed/>
                </p:oleObj>
              </mc:Choice>
              <mc:Fallback>
                <p:oleObj name="think-cell Folie" r:id="rId7" imgW="359" imgH="357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2" hidden="1">
            <a:extLst>
              <a:ext uri="{FF2B5EF4-FFF2-40B4-BE49-F238E27FC236}">
                <a16:creationId xmlns:a16="http://schemas.microsoft.com/office/drawing/2014/main" id="{735F965C-9EA4-4A0A-A502-B95C076B8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59" imgH="357" progId="TCLayout.ActiveDocument.1">
                  <p:embed/>
                </p:oleObj>
              </mc:Choice>
              <mc:Fallback>
                <p:oleObj name="think-cell Folie" r:id="rId9" imgW="359" imgH="357" progId="TCLayout.ActiveDocument.1">
                  <p:embed/>
                  <p:pic>
                    <p:nvPicPr>
                      <p:cNvPr id="8" name="Objekt 2" hidden="1">
                        <a:extLst>
                          <a:ext uri="{FF2B5EF4-FFF2-40B4-BE49-F238E27FC236}">
                            <a16:creationId xmlns:a16="http://schemas.microsoft.com/office/drawing/2014/main" id="{735F965C-9EA4-4A0A-A502-B95C076B8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2" hidden="1">
            <a:extLst>
              <a:ext uri="{FF2B5EF4-FFF2-40B4-BE49-F238E27FC236}">
                <a16:creationId xmlns:a16="http://schemas.microsoft.com/office/drawing/2014/main" id="{AC34332F-3CAF-4E43-9B10-2F81AD1CEB7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59" imgH="357" progId="TCLayout.ActiveDocument.1">
                  <p:embed/>
                </p:oleObj>
              </mc:Choice>
              <mc:Fallback>
                <p:oleObj name="think-cell Folie" r:id="rId10" imgW="359" imgH="357" progId="TCLayout.ActiveDocument.1">
                  <p:embed/>
                  <p:pic>
                    <p:nvPicPr>
                      <p:cNvPr id="9" name="Objekt 2" hidden="1">
                        <a:extLst>
                          <a:ext uri="{FF2B5EF4-FFF2-40B4-BE49-F238E27FC236}">
                            <a16:creationId xmlns:a16="http://schemas.microsoft.com/office/drawing/2014/main" id="{AC34332F-3CAF-4E43-9B10-2F81AD1CEB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2" hidden="1">
            <a:extLst>
              <a:ext uri="{FF2B5EF4-FFF2-40B4-BE49-F238E27FC236}">
                <a16:creationId xmlns:a16="http://schemas.microsoft.com/office/drawing/2014/main" id="{CF58A5BD-4101-4469-A6A9-255BF7F7D04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59" imgH="357" progId="TCLayout.ActiveDocument.1">
                  <p:embed/>
                </p:oleObj>
              </mc:Choice>
              <mc:Fallback>
                <p:oleObj name="think-cell Folie" r:id="rId11" imgW="359" imgH="357" progId="TCLayout.ActiveDocument.1">
                  <p:embed/>
                  <p:pic>
                    <p:nvPicPr>
                      <p:cNvPr id="10" name="Objekt 2" hidden="1">
                        <a:extLst>
                          <a:ext uri="{FF2B5EF4-FFF2-40B4-BE49-F238E27FC236}">
                            <a16:creationId xmlns:a16="http://schemas.microsoft.com/office/drawing/2014/main" id="{CF58A5BD-4101-4469-A6A9-255BF7F7D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2" hidden="1">
            <a:extLst>
              <a:ext uri="{FF2B5EF4-FFF2-40B4-BE49-F238E27FC236}">
                <a16:creationId xmlns:a16="http://schemas.microsoft.com/office/drawing/2014/main" id="{2C250670-108F-43BF-8D76-895CF0D4271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59" imgH="357" progId="TCLayout.ActiveDocument.1">
                  <p:embed/>
                </p:oleObj>
              </mc:Choice>
              <mc:Fallback>
                <p:oleObj name="think-cell Folie" r:id="rId12" imgW="359" imgH="357" progId="TCLayout.ActiveDocument.1">
                  <p:embed/>
                  <p:pic>
                    <p:nvPicPr>
                      <p:cNvPr id="11" name="Objekt 2" hidden="1">
                        <a:extLst>
                          <a:ext uri="{FF2B5EF4-FFF2-40B4-BE49-F238E27FC236}">
                            <a16:creationId xmlns:a16="http://schemas.microsoft.com/office/drawing/2014/main" id="{2C250670-108F-43BF-8D76-895CF0D42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2">
            <a:extLst>
              <a:ext uri="{FF2B5EF4-FFF2-40B4-BE49-F238E27FC236}">
                <a16:creationId xmlns:a16="http://schemas.microsoft.com/office/drawing/2014/main" id="{43784172-0A98-417A-B686-DB998F7FBF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09701"/>
            <a:ext cx="5943599" cy="46101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A79B0AC5-9C7E-4A59-94A3-8BADE6C25E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81524BB-BF12-412D-81C6-055795625F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46813" y="1409700"/>
            <a:ext cx="5637600" cy="457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Add text</a:t>
            </a:r>
            <a:endParaRPr lang="en-IN" dirty="0"/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A1BB23F2-3068-4CB2-8BD8-45C27340F70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46813" y="1866900"/>
            <a:ext cx="5637600" cy="4152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33" name="Title 32">
            <a:extLst>
              <a:ext uri="{FF2B5EF4-FFF2-40B4-BE49-F238E27FC236}">
                <a16:creationId xmlns:a16="http://schemas.microsoft.com/office/drawing/2014/main" id="{BD650CFB-D60A-488A-9CF8-0341B43BD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C71DA4F9-7BB9-46EE-9196-339D6A6AC7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FD920D32-967C-4274-97EC-C184CE4D5B5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22167935-5085-4DFD-BCD6-3CC1EAB06BD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B19F5E03-6454-4D99-9C93-CB61AC04A79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0E0CE42-3DBD-475A-8F7F-310817CF2DE2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5895590-89E2-4600-A11E-3B450D94CF75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EE9071D-FADB-4EED-8CEE-6ED684DC52F2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57906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49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94879E5-0FFA-4C18-B6DD-23DF5B8B71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88498F-48D6-4191-BB14-6208FE39F91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0" y="1409700"/>
            <a:ext cx="56388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1A4A31A-11DC-4C50-A52E-76C3305FEBD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48400" y="1409700"/>
            <a:ext cx="56388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6EED8AD-F3B6-42C8-9C27-16BD86665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109883D-7EA6-4D7B-9D16-05CE327CB6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7F19C3B-EF09-41A1-9338-19821CAA986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8344A046-69CF-4CE7-BCA4-9884253BE5F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26EA708-A74E-471D-88BA-F415A06E2CF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CE1A423-796A-4E60-903F-04B0C3A3F0E0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5E79D99-C453-4A19-B87D-2262F1EDA628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D7C0B1B-221A-49CF-B34E-2F8A758B0F94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30604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44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s_with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B5E13C6E-EB60-42A6-9B4E-0490F7364D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B6D8F0-6D47-4477-ACC4-BE352F4563A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5638800" cy="46101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34975DA-C394-4ED7-8346-83B8924F080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48400" y="1409700"/>
            <a:ext cx="5638800" cy="46101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F6FF62-32FC-4CF4-B20F-A00C3E7037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C5B4F50-541D-4F35-8859-9A0E26CF2F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A181BE-8B42-4FF0-B639-8364A506FB8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F2CBD2A-5D01-42CF-B76B-4FD45B98008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B7DEE8D-E02B-4A83-8BBE-0918868A4CE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6D4C52-9D0A-4B8A-A838-D84992B25B31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58148A1-F6E8-452E-81CB-419D7C9C60C5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52841E6-AC55-4163-9CB0-96CF540917D5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07535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Horizontal_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F7039BF-9786-4247-884F-EE023DA8B9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D6B7C06-ED75-4B03-A51B-5309E7F224A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11582400" cy="2160000"/>
          </a:xfrm>
          <a:noFill/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3AABEDB0-57C6-4739-8481-01E458F99CE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04800" y="3860022"/>
            <a:ext cx="11582400" cy="2160000"/>
          </a:xfrm>
          <a:noFill/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3692E4-B199-4B51-95C6-A10D6CFA98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7311D0B-CF81-42A2-A8E4-5010CD5B45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E518C2-E49A-4279-ABE5-78B6C98C964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299B20-1AE5-4299-84B6-FC62AE4A939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A31684-700A-4655-86AE-D2952DD506C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1E11EDD-299B-4C83-ABF2-5C57F7F6D63B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BF40BC0-7764-45D8-9DF9-730C3256CDA3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5F5DF27-810A-4052-B468-E95B47AE2FE0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2953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251">
          <p15:clr>
            <a:srgbClr val="FBAE40"/>
          </p15:clr>
        </p15:guide>
        <p15:guide id="3" orient="horz" pos="243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Horizontal_Box_with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F7039BF-9786-4247-884F-EE023DA8B9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D6B7C06-ED75-4B03-A51B-5309E7F224A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115824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3AABEDB0-57C6-4739-8481-01E458F99CE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04800" y="3860022"/>
            <a:ext cx="115824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DAF08F-2BB0-46A1-88C3-E55264D6C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A356D55-E62B-4462-8FA9-E2D51C74F4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2971B6-41DE-4F3F-B6EA-1D5DA0E4771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94E7B7-035C-49FC-98B4-B45F74D4949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33567E-FFD2-4F08-8D51-7B6033B4DEA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6F9907C-7CBE-4259-A206-B0AA2CE7CE39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6C83A20-DD08-48CA-89AF-395AC7154207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6CCF17E-B96C-421B-B1F3-7C8C6EBD836F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7170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251">
          <p15:clr>
            <a:srgbClr val="FBAE40"/>
          </p15:clr>
        </p15:guide>
        <p15:guide id="3" orient="horz" pos="243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rizontal_Box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7EF014E1-174C-4EAA-88DF-5E1C519502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8AD551B-0B26-415B-AEB3-1A7A789A540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5637600" cy="216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7863AFD7-48AC-4FD5-9E2E-6E638BCEDF3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48516" y="1409700"/>
            <a:ext cx="5637600" cy="216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40F2A822-F4D7-4938-890C-2C3F9CDF138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0" y="3859667"/>
            <a:ext cx="5637600" cy="216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7A616A18-77BE-4ECE-84FC-71D44D4FE0C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48513" y="3859667"/>
            <a:ext cx="5637600" cy="216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43A831E-7985-423D-A679-1597340DB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EBDCC1C-870A-4AAF-84E1-97BA6796D9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0DD5B8D-FC26-4779-A5CF-D5321CEDB4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4CF1364-D277-4A01-A6D1-FB63EA8CB21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B17ACD2-3ABE-468D-9210-12EA4CB086B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107603A-20CD-41D8-A87E-8A2D111DAC2B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122CE5-1C28-4DA5-AC9B-0975AE8C1071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E2B4614-23D4-4E4D-BAA0-61791C7C9D13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65490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2251">
          <p15:clr>
            <a:srgbClr val="FBAE40"/>
          </p15:clr>
        </p15:guide>
        <p15:guide id="4" orient="horz" pos="243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rizontal_Box_4_with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7EF014E1-174C-4EAA-88DF-5E1C519502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8AD551B-0B26-415B-AEB3-1A7A789A540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" y="1409700"/>
            <a:ext cx="56376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7863AFD7-48AC-4FD5-9E2E-6E638BCEDF3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48516" y="1409700"/>
            <a:ext cx="56376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40F2A822-F4D7-4938-890C-2C3F9CDF138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0" y="3859667"/>
            <a:ext cx="56376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7A616A18-77BE-4ECE-84FC-71D44D4FE0C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48513" y="3859667"/>
            <a:ext cx="5637600" cy="2160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96DCA3A-4F47-4FE8-8AED-A7EBDBBEB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E677E9-2EEA-4C59-885C-A439AAEE00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691644DE-1240-474D-8865-0AE74D09A30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38D728-52E6-43DA-974B-C527A4DE450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F00FE57-DA08-4F63-9F98-79D0FF8D417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39EAB00-CE4C-47AD-83EF-D75F80C6B429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CD652956-819C-41EE-B51B-A396B7C5C14B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75F9D722-AF2F-422C-A93C-9F8E82391FE1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1238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2251">
          <p15:clr>
            <a:srgbClr val="FBAE40"/>
          </p15:clr>
        </p15:guide>
        <p15:guide id="4" orient="horz" pos="243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Cover_A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46AFDD9A-DB74-460D-B7C9-04B291E170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3886200"/>
            <a:ext cx="9482673" cy="454303"/>
          </a:xfrm>
        </p:spPr>
        <p:txBody>
          <a:bodyPr lIns="72000" anchor="t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Title Edit He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EA634F-85E5-40B8-9A00-165F44E4A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5233" y="4340502"/>
            <a:ext cx="9482241" cy="353558"/>
          </a:xfrm>
          <a:prstGeom prst="rect">
            <a:avLst/>
          </a:prstGeom>
        </p:spPr>
        <p:txBody>
          <a:bodyPr lIns="7200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Add sub-title</a:t>
            </a:r>
          </a:p>
        </p:txBody>
      </p:sp>
    </p:spTree>
    <p:extLst>
      <p:ext uri="{BB962C8B-B14F-4D97-AF65-F5344CB8AC3E}">
        <p14:creationId xmlns:p14="http://schemas.microsoft.com/office/powerpoint/2010/main" val="631744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s_w_images_11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2">
            <a:extLst>
              <a:ext uri="{FF2B5EF4-FFF2-40B4-BE49-F238E27FC236}">
                <a16:creationId xmlns:a16="http://schemas.microsoft.com/office/drawing/2014/main" id="{22A2FF70-2B96-4040-9063-72BC7E0C003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5445" y="1408846"/>
            <a:ext cx="3664800" cy="216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2" name="Bildplatzhalter 12">
            <a:extLst>
              <a:ext uri="{FF2B5EF4-FFF2-40B4-BE49-F238E27FC236}">
                <a16:creationId xmlns:a16="http://schemas.microsoft.com/office/drawing/2014/main" id="{4CD7E9E4-B104-431C-ADEB-572011D1326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2761" y="1408846"/>
            <a:ext cx="3664800" cy="216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4" name="Bildplatzhalter 12">
            <a:extLst>
              <a:ext uri="{FF2B5EF4-FFF2-40B4-BE49-F238E27FC236}">
                <a16:creationId xmlns:a16="http://schemas.microsoft.com/office/drawing/2014/main" id="{C5BA7CE5-72A5-4259-9412-EA0AA871808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20077" y="1408846"/>
            <a:ext cx="3664800" cy="216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1F631DFA-F4A0-4B1F-B47F-B3E7590F8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8875AE-1936-400E-BA56-EF4B4DA1C7A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5445" y="3861951"/>
            <a:ext cx="36648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4F0B694B-3C96-445C-A6D6-58D71987A414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305445" y="4257950"/>
            <a:ext cx="3664800" cy="1761213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E74FEB3-202C-4AC8-88E1-6B70B0E9064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62761" y="3861951"/>
            <a:ext cx="36648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27" name="Content Placeholder 24">
            <a:extLst>
              <a:ext uri="{FF2B5EF4-FFF2-40B4-BE49-F238E27FC236}">
                <a16:creationId xmlns:a16="http://schemas.microsoft.com/office/drawing/2014/main" id="{9B5DB951-949C-4920-8DE2-B5ACC3A3EA78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262761" y="4257950"/>
            <a:ext cx="3664800" cy="1761213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1EAB7AE5-790B-47CD-8281-1E5EB2E9519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20077" y="3861951"/>
            <a:ext cx="36648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29" name="Content Placeholder 24">
            <a:extLst>
              <a:ext uri="{FF2B5EF4-FFF2-40B4-BE49-F238E27FC236}">
                <a16:creationId xmlns:a16="http://schemas.microsoft.com/office/drawing/2014/main" id="{ACA11A75-7693-4504-B9A0-EBBA2701CD81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220077" y="4257950"/>
            <a:ext cx="3664800" cy="1761213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6C3736BE-F681-4456-905C-69BF22453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5B2CCF46-F099-4811-A651-393341C2D48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39" name="Date Placeholder 38">
            <a:extLst>
              <a:ext uri="{FF2B5EF4-FFF2-40B4-BE49-F238E27FC236}">
                <a16:creationId xmlns:a16="http://schemas.microsoft.com/office/drawing/2014/main" id="{C94933BA-DB28-47A2-859F-45FCC7AB6DC8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F0FAD2F9-5D7D-4D4E-A363-22DD067BF4E9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D308C022-2129-4ECE-B285-149931BF12E5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68506F2-BFB8-4C60-9FC3-28184DCF41ED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908153B-635F-40E4-A586-D08F9D34A377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1546032-3ECC-4777-8C46-2F5B303E8D9D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46004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683">
          <p15:clr>
            <a:srgbClr val="FBAE40"/>
          </p15:clr>
        </p15:guide>
        <p15:guide id="8" pos="2502">
          <p15:clr>
            <a:srgbClr val="FBAE40"/>
          </p15:clr>
        </p15:guide>
        <p15:guide id="9" pos="5178">
          <p15:clr>
            <a:srgbClr val="FBAE40"/>
          </p15:clr>
        </p15:guide>
        <p15:guide id="10" pos="4997">
          <p15:clr>
            <a:srgbClr val="FBAE40"/>
          </p15:clr>
        </p15:guide>
        <p15:guide id="11" orient="horz" pos="2432">
          <p15:clr>
            <a:srgbClr val="FBAE40"/>
          </p15:clr>
        </p15:guide>
        <p15:guide id="12" orient="horz" pos="225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BFE18C7A-3960-460B-9047-B21258CA1B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17" name="Content Placeholder 7">
            <a:extLst>
              <a:ext uri="{FF2B5EF4-FFF2-40B4-BE49-F238E27FC236}">
                <a16:creationId xmlns:a16="http://schemas.microsoft.com/office/drawing/2014/main" id="{06F1B0D9-B83A-4BEC-94CD-58D1AB669A6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800" y="1409700"/>
            <a:ext cx="36648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E8E2C0A2-5F02-4929-A6FC-ED2BCA3E0915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268291" y="1409700"/>
            <a:ext cx="36648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9ED00118-BA2C-44C3-AED6-43EF40BDB87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214363" y="1409700"/>
            <a:ext cx="36648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506DE17-0BF7-4C27-8B96-D495EDAA6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3ED7763-60D6-4154-BB26-03832C1384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327824-594D-4B8B-927C-735FA02C0F39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B0A5E2B-E6E2-42E5-BB3D-7B11A844FC4E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83127D-8B8C-474A-A9ED-53D7F652E52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09EA6A3-9D1E-4E06-8E14-992015547248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561A59D-CB9C-42BF-921F-76B1F209F92A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5ED37EA-2DBC-454C-AA13-0BFCD49847EE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9630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502">
          <p15:clr>
            <a:srgbClr val="5ACBF0"/>
          </p15:clr>
        </p15:guide>
        <p15:guide id="6" pos="2683">
          <p15:clr>
            <a:srgbClr val="5ACBF0"/>
          </p15:clr>
        </p15:guide>
        <p15:guide id="7" pos="4997">
          <p15:clr>
            <a:srgbClr val="5ACBF0"/>
          </p15:clr>
        </p15:guide>
        <p15:guide id="8" pos="5178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s_w_images_11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9FFA7C7F-48BF-4E6F-B84A-0C939DFA846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05445" y="1409700"/>
            <a:ext cx="2671200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3ADA6F75-22D8-4FD9-8ED7-B1D9D6FB0C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2ACFA438-EAA7-4973-B76D-D3D06987EF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05445" y="3121470"/>
            <a:ext cx="26712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32" name="Content Placeholder 24">
            <a:extLst>
              <a:ext uri="{FF2B5EF4-FFF2-40B4-BE49-F238E27FC236}">
                <a16:creationId xmlns:a16="http://schemas.microsoft.com/office/drawing/2014/main" id="{E6B5F552-2E02-4374-A0F5-82B48E55E318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05445" y="3517470"/>
            <a:ext cx="2671200" cy="2501694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33" name="Bildplatzhalter 12">
            <a:extLst>
              <a:ext uri="{FF2B5EF4-FFF2-40B4-BE49-F238E27FC236}">
                <a16:creationId xmlns:a16="http://schemas.microsoft.com/office/drawing/2014/main" id="{4D97EAC3-8771-4753-A17B-576CEB99B83B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272224" y="1408846"/>
            <a:ext cx="2671200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34" name="Bildplatzhalter 12">
            <a:extLst>
              <a:ext uri="{FF2B5EF4-FFF2-40B4-BE49-F238E27FC236}">
                <a16:creationId xmlns:a16="http://schemas.microsoft.com/office/drawing/2014/main" id="{8C8E20AC-A594-481D-A633-1D9B7A144A3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239003" y="1408846"/>
            <a:ext cx="2671200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35" name="Bildplatzhalter 12">
            <a:extLst>
              <a:ext uri="{FF2B5EF4-FFF2-40B4-BE49-F238E27FC236}">
                <a16:creationId xmlns:a16="http://schemas.microsoft.com/office/drawing/2014/main" id="{91241027-38AE-4FD6-9079-C9A9CA9820DF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205782" y="1408846"/>
            <a:ext cx="2671200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661C43B7-E05B-4954-9A32-8CEC36D418D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2224" y="3121470"/>
            <a:ext cx="26712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37" name="Content Placeholder 24">
            <a:extLst>
              <a:ext uri="{FF2B5EF4-FFF2-40B4-BE49-F238E27FC236}">
                <a16:creationId xmlns:a16="http://schemas.microsoft.com/office/drawing/2014/main" id="{3E92981E-D46C-46AE-B221-ED021B67E362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272224" y="3517470"/>
            <a:ext cx="2671200" cy="2501694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8CD4B205-309E-4E6A-A5A3-5E059604AE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39003" y="3121470"/>
            <a:ext cx="26712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39" name="Content Placeholder 24">
            <a:extLst>
              <a:ext uri="{FF2B5EF4-FFF2-40B4-BE49-F238E27FC236}">
                <a16:creationId xmlns:a16="http://schemas.microsoft.com/office/drawing/2014/main" id="{CF5F7F6E-84C1-4B2B-8D5F-9F7692FB367F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6239003" y="3517470"/>
            <a:ext cx="2671200" cy="2501694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79B374FA-6FE8-4300-99E4-03C70655114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205782" y="3121470"/>
            <a:ext cx="2671200" cy="396000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sub-lines here</a:t>
            </a:r>
            <a:endParaRPr lang="en-IN" dirty="0"/>
          </a:p>
        </p:txBody>
      </p:sp>
      <p:sp>
        <p:nvSpPr>
          <p:cNvPr id="41" name="Content Placeholder 24">
            <a:extLst>
              <a:ext uri="{FF2B5EF4-FFF2-40B4-BE49-F238E27FC236}">
                <a16:creationId xmlns:a16="http://schemas.microsoft.com/office/drawing/2014/main" id="{52611E23-9BF4-4027-BA77-DD4FFB6FD311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9205782" y="3517470"/>
            <a:ext cx="2671200" cy="2501694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1AAB9E5-E051-4564-A5B4-1121F4AFA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E8BC6B41-F2E6-42C1-8BFA-833B0879B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E9D477C1-44D1-4E7D-97B5-AA0D4F17EAF6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B433F57-3656-4392-B116-3E8081D04CCD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1CB58E91-7211-4B68-A024-A86CC225DC7F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CACD4B0-D0A5-41F5-B965-069DD2E00D1B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57AC0F9-6EB9-4595-A7BA-62A348F4BACB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650EA1A-83B6-4CCD-9BA2-91C29F4807E5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8175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876">
          <p15:clr>
            <a:srgbClr val="FBAE40"/>
          </p15:clr>
        </p15:guide>
        <p15:guide id="13" pos="2057">
          <p15:clr>
            <a:srgbClr val="FBAE40"/>
          </p15:clr>
        </p15:guide>
        <p15:guide id="14" pos="3749">
          <p15:clr>
            <a:srgbClr val="FBAE40"/>
          </p15:clr>
        </p15:guide>
        <p15:guide id="15" pos="3931">
          <p15:clr>
            <a:srgbClr val="FBAE40"/>
          </p15:clr>
        </p15:guide>
        <p15:guide id="16" pos="5617">
          <p15:clr>
            <a:srgbClr val="FBAE40"/>
          </p15:clr>
        </p15:guide>
        <p15:guide id="17" pos="5793">
          <p15:clr>
            <a:srgbClr val="FBAE40"/>
          </p15:clr>
        </p15:guide>
        <p15:guide id="19" orient="horz" pos="1794">
          <p15:clr>
            <a:srgbClr val="FBAE40"/>
          </p15:clr>
        </p15:guide>
        <p15:guide id="20" orient="horz" pos="195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ABA7E47B-E6EA-42F5-9E33-80D5ED7734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FBC7A6D-236D-4EFD-860C-D8E3FF018F4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4800" y="1409700"/>
            <a:ext cx="26712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1C4CB588-737B-4208-AE0F-E025C98D24B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274800" y="1409700"/>
            <a:ext cx="26712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7" name="Content Placeholder 7">
            <a:extLst>
              <a:ext uri="{FF2B5EF4-FFF2-40B4-BE49-F238E27FC236}">
                <a16:creationId xmlns:a16="http://schemas.microsoft.com/office/drawing/2014/main" id="{CC1B1315-FDE6-4A22-8F7C-50E461BBB6C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44800" y="1409700"/>
            <a:ext cx="26712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9110C939-72DF-4350-8438-6EFF4335618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206091" y="1409700"/>
            <a:ext cx="26712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78F6-96B1-4DA0-A6B2-510F6DD3E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8447E65-CF93-4E42-8B9E-C195070DB8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C7623B-C3AE-41D4-AD2D-B4E5770CB054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38727B5-F1A8-4565-A020-2DD8F2E6582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F28D808-A6BB-41DB-8ADD-56A66B09963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595176F-5D2D-4EFF-9F54-4D1CBA5C7C69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C3915EE-D7E0-4E4F-8F2E-2ED1CAEFC3CD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1B82BA5-E896-45B9-A16B-530EF377CE22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44757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76">
          <p15:clr>
            <a:srgbClr val="5ACBF0"/>
          </p15:clr>
        </p15:guide>
        <p15:guide id="7" pos="3747">
          <p15:clr>
            <a:srgbClr val="5ACBF0"/>
          </p15:clr>
        </p15:guide>
        <p15:guide id="8" pos="3933">
          <p15:clr>
            <a:srgbClr val="5ACBF0"/>
          </p15:clr>
        </p15:guide>
        <p15:guide id="9" pos="5617">
          <p15:clr>
            <a:srgbClr val="5ACBF0"/>
          </p15:clr>
        </p15:guide>
        <p15:guide id="10" pos="5793">
          <p15:clr>
            <a:srgbClr val="5ACBF0"/>
          </p15:clr>
        </p15:guide>
        <p15:guide id="11" pos="2057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_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61702B5D-6BB3-43C6-AEA7-73A7831461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20" name="Text Placeholder 55">
            <a:extLst>
              <a:ext uri="{FF2B5EF4-FFF2-40B4-BE49-F238E27FC236}">
                <a16:creationId xmlns:a16="http://schemas.microsoft.com/office/drawing/2014/main" id="{CDE67F70-1B9F-41FA-A9C6-87EA864E6B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6710" y="3968766"/>
            <a:ext cx="9919817" cy="61424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key take-away text,</a:t>
            </a:r>
          </a:p>
          <a:p>
            <a:pPr lvl="0"/>
            <a:r>
              <a:rPr lang="en-US" dirty="0"/>
              <a:t>max 2-lines</a:t>
            </a:r>
          </a:p>
        </p:txBody>
      </p:sp>
      <p:sp>
        <p:nvSpPr>
          <p:cNvPr id="22" name="Text Placeholder 55">
            <a:extLst>
              <a:ext uri="{FF2B5EF4-FFF2-40B4-BE49-F238E27FC236}">
                <a16:creationId xmlns:a16="http://schemas.microsoft.com/office/drawing/2014/main" id="{0F38E441-F23E-4694-9FB1-2BDE76D19A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6710" y="4684663"/>
            <a:ext cx="9919817" cy="61424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key take-away text,</a:t>
            </a:r>
          </a:p>
          <a:p>
            <a:pPr lvl="0"/>
            <a:r>
              <a:rPr lang="en-US" dirty="0"/>
              <a:t>max 2-lines</a:t>
            </a:r>
          </a:p>
        </p:txBody>
      </p:sp>
      <p:sp>
        <p:nvSpPr>
          <p:cNvPr id="34" name="Text Placeholder 55">
            <a:extLst>
              <a:ext uri="{FF2B5EF4-FFF2-40B4-BE49-F238E27FC236}">
                <a16:creationId xmlns:a16="http://schemas.microsoft.com/office/drawing/2014/main" id="{CB7DFD59-1F6B-4C39-A225-AF3C55889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6710" y="3256143"/>
            <a:ext cx="9919817" cy="61456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key take-away text,</a:t>
            </a:r>
          </a:p>
          <a:p>
            <a:pPr lvl="0"/>
            <a:r>
              <a:rPr lang="en-US" dirty="0"/>
              <a:t>max 2-lines</a:t>
            </a:r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C052E13-A0A3-40B8-9E88-4AC147DA3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6710" y="3916137"/>
            <a:ext cx="9919817" cy="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0"/>
              </a:lnSpc>
              <a:spcAft>
                <a:spcPts val="0"/>
              </a:spcAft>
              <a:buNone/>
              <a:defRPr lang="en-US" sz="400">
                <a:solidFill>
                  <a:schemeClr val="accent2">
                    <a:lumMod val="40000"/>
                    <a:lumOff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 dirty="0"/>
              <a:t> </a:t>
            </a:r>
          </a:p>
        </p:txBody>
      </p:sp>
      <p:sp>
        <p:nvSpPr>
          <p:cNvPr id="36" name="Text Placeholder 18">
            <a:extLst>
              <a:ext uri="{FF2B5EF4-FFF2-40B4-BE49-F238E27FC236}">
                <a16:creationId xmlns:a16="http://schemas.microsoft.com/office/drawing/2014/main" id="{27097F0B-45DB-4C1A-8209-EE483A848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6710" y="4628434"/>
            <a:ext cx="9919817" cy="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0"/>
              </a:lnSpc>
              <a:spcAft>
                <a:spcPts val="0"/>
              </a:spcAft>
              <a:buNone/>
              <a:defRPr lang="en-US" sz="400">
                <a:solidFill>
                  <a:schemeClr val="accent2">
                    <a:lumMod val="40000"/>
                    <a:lumOff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 dirty="0"/>
              <a:t> 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B1A86996-A6BD-474D-8464-75EB5416BB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0153" y="3347426"/>
            <a:ext cx="432000" cy="432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 marL="0" indent="0">
              <a:buNone/>
              <a:defRPr lang="en-US" sz="1400" b="1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algn="ctr">
              <a:spcBef>
                <a:spcPts val="0"/>
              </a:spcBef>
            </a:pPr>
            <a:r>
              <a:rPr lang="en-US" dirty="0"/>
              <a:t>1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0F5AC866-0C0D-4AE9-AB84-8F89A0D30C8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153" y="4059886"/>
            <a:ext cx="432000" cy="432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 marL="0" indent="0">
              <a:buNone/>
              <a:defRPr lang="en-US" sz="1400" b="1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algn="ctr">
              <a:spcBef>
                <a:spcPts val="0"/>
              </a:spcBef>
            </a:pPr>
            <a:r>
              <a:rPr lang="en-US" dirty="0"/>
              <a:t>1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D52EEA49-9DD6-49EB-964D-8B5EA66269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0153" y="4775783"/>
            <a:ext cx="432000" cy="432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 marL="0" indent="0">
              <a:buNone/>
              <a:defRPr lang="en-US" sz="1400" b="1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algn="ctr">
              <a:spcBef>
                <a:spcPts val="0"/>
              </a:spcBef>
            </a:pPr>
            <a:r>
              <a:rPr lang="en-US" dirty="0"/>
              <a:t>1</a:t>
            </a:r>
          </a:p>
        </p:txBody>
      </p:sp>
      <p:sp>
        <p:nvSpPr>
          <p:cNvPr id="40" name="Text Placeholder 55">
            <a:extLst>
              <a:ext uri="{FF2B5EF4-FFF2-40B4-BE49-F238E27FC236}">
                <a16:creationId xmlns:a16="http://schemas.microsoft.com/office/drawing/2014/main" id="{51C75CEE-B5D2-4C5B-98D7-AA41C0C8BC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16710" y="5400561"/>
            <a:ext cx="9919817" cy="61424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key take-away text,</a:t>
            </a:r>
          </a:p>
          <a:p>
            <a:pPr lvl="0"/>
            <a:r>
              <a:rPr lang="en-US" dirty="0"/>
              <a:t>max 2-lin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3C85DD0D-30E7-4C57-BC47-DB166B1BEDE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16710" y="5344331"/>
            <a:ext cx="9919817" cy="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0"/>
              </a:lnSpc>
              <a:spcAft>
                <a:spcPts val="0"/>
              </a:spcAft>
              <a:buNone/>
              <a:defRPr lang="en-US" sz="400">
                <a:solidFill>
                  <a:schemeClr val="accent2">
                    <a:lumMod val="40000"/>
                    <a:lumOff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 dirty="0"/>
              <a:t> 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FF7941CF-EFDE-44D4-A54F-FED7CB7038E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0153" y="5491681"/>
            <a:ext cx="432000" cy="432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 marL="0" indent="0">
              <a:buNone/>
              <a:defRPr lang="en-US" sz="1400" b="1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algn="ctr">
              <a:spcBef>
                <a:spcPts val="0"/>
              </a:spcBef>
            </a:pPr>
            <a:r>
              <a:rPr lang="en-US" dirty="0"/>
              <a:t>1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1BAF550-1E9C-4160-8C92-A92B2577744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04800" y="1409699"/>
            <a:ext cx="11580813" cy="176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Picture</a:t>
            </a:r>
            <a:endParaRPr lang="en-IN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F7F95E6-44CA-4031-A4D2-8006BF6A3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1C94A74-90DB-433F-8711-9C8244A0D27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6391170-83BD-4010-B25B-8880FFC4F356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89277C6-6B2C-4EA0-9C3C-358457F0FF59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C15EA21-2E67-4A39-9189-0FB1EDC22D36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BAE0B2F-01E8-4C62-B765-ADC33D45DCB2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1E056A19-5692-4743-8729-2A81A59BDEE1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3DE2DA1-1B1E-4189-892F-D0FA325793A5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90709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_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07972" y="3880811"/>
            <a:ext cx="5637600" cy="3429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72000" tIns="72000" rIns="72000" bIns="72000" rtlCol="0"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00025" lvl="0" indent="-200025"/>
            <a:r>
              <a:rPr lang="en-US" dirty="0"/>
              <a:t>Heading, 14pts, bold, sentence case</a:t>
            </a:r>
          </a:p>
        </p:txBody>
      </p:sp>
      <p:sp>
        <p:nvSpPr>
          <p:cNvPr id="51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243773" y="3880811"/>
            <a:ext cx="5637600" cy="3429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72000" tIns="72000" rIns="72000" bIns="72000" rtlCol="0"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00025" lvl="0" indent="-200025"/>
            <a:r>
              <a:rPr lang="en-US" dirty="0"/>
              <a:t>Heading, 14pts, bold, sentence case</a:t>
            </a:r>
          </a:p>
        </p:txBody>
      </p:sp>
      <p:sp>
        <p:nvSpPr>
          <p:cNvPr id="41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307972" y="1434414"/>
            <a:ext cx="5637600" cy="3429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72000" tIns="72000" rIns="72000" bIns="72000" rtlCol="0"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00025" lvl="0" indent="-200025"/>
            <a:r>
              <a:rPr lang="en-US" dirty="0"/>
              <a:t>Heading, 14pts, bold, sentence case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16"/>
          </p:nvPr>
        </p:nvSpPr>
        <p:spPr>
          <a:xfrm>
            <a:off x="304799" y="1409700"/>
            <a:ext cx="5637600" cy="27432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00" b="0">
                <a:solidFill>
                  <a:schemeClr val="accent2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19"/>
          </p:nvPr>
        </p:nvSpPr>
        <p:spPr>
          <a:xfrm>
            <a:off x="304799" y="3858929"/>
            <a:ext cx="5637600" cy="27432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" b="0">
                <a:solidFill>
                  <a:schemeClr val="accent2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48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243773" y="1434414"/>
            <a:ext cx="5637600" cy="3429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72000" tIns="72000" rIns="72000" bIns="72000" rtlCol="0"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00025" lvl="0" indent="-200025"/>
            <a:r>
              <a:rPr lang="en-US" dirty="0"/>
              <a:t>Heading, 14pts, bold, sentence case</a:t>
            </a:r>
          </a:p>
        </p:txBody>
      </p:sp>
      <p:sp>
        <p:nvSpPr>
          <p:cNvPr id="49" name="Text Placeholder 18"/>
          <p:cNvSpPr>
            <a:spLocks noGrp="1"/>
          </p:cNvSpPr>
          <p:nvPr>
            <p:ph type="body" sz="quarter" idx="22"/>
          </p:nvPr>
        </p:nvSpPr>
        <p:spPr>
          <a:xfrm>
            <a:off x="6243773" y="1409700"/>
            <a:ext cx="5637600" cy="27432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00" b="0">
                <a:solidFill>
                  <a:schemeClr val="accent2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2" name="Text Placeholder 18"/>
          <p:cNvSpPr>
            <a:spLocks noGrp="1"/>
          </p:cNvSpPr>
          <p:nvPr>
            <p:ph type="body" sz="quarter" idx="25"/>
          </p:nvPr>
        </p:nvSpPr>
        <p:spPr>
          <a:xfrm>
            <a:off x="6243773" y="3858929"/>
            <a:ext cx="5637600" cy="27432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" b="0">
                <a:solidFill>
                  <a:schemeClr val="accent2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28600" lvl="0" indent="-228600" defTabSz="457200">
              <a:lnSpc>
                <a:spcPct val="0"/>
              </a:lnSpc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D2C962C0-7721-476A-876D-60BDE23707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9644693-51FC-4EC5-B3CE-BE1007EFAD21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04801" y="1804376"/>
            <a:ext cx="5637600" cy="176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6" name="Content Placeholder 7">
            <a:extLst>
              <a:ext uri="{FF2B5EF4-FFF2-40B4-BE49-F238E27FC236}">
                <a16:creationId xmlns:a16="http://schemas.microsoft.com/office/drawing/2014/main" id="{E2A3177D-D917-491E-BB6F-CEFA0934E75E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43773" y="1804376"/>
            <a:ext cx="5637600" cy="176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id="{4DF14464-E845-4A43-B013-D714069D38A4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304801" y="4251962"/>
            <a:ext cx="5637600" cy="176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984F3592-86F3-4350-B2A5-6DB76C33691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243773" y="4251962"/>
            <a:ext cx="5637600" cy="176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2E47D4-643E-4015-8295-093D9DD2E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81F9410-4FD4-41C2-A86D-2DB9F92F34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6A9F5832-D9EE-48CC-BC03-4FA8C62443E9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97A86AC-8C94-40CD-8A51-36CC6FD2BD15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DEF4776-22AF-4B2E-BE8A-BAD626B47275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A2939FF-CD8A-4058-8423-1DCBF47FEF9C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16D5EE4-4809-41C3-B18B-6D91DB34B6AD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4025F17C-AF22-4E8B-A185-6A88DB8EF4AE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80872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2432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5"/>
          <p:cNvSpPr>
            <a:spLocks noGrp="1"/>
          </p:cNvSpPr>
          <p:nvPr>
            <p:ph type="body" sz="quarter" idx="42" hasCustomPrompt="1"/>
          </p:nvPr>
        </p:nvSpPr>
        <p:spPr>
          <a:xfrm>
            <a:off x="6736793" y="2493975"/>
            <a:ext cx="4495321" cy="7969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ctr"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Verdana"/>
              </a:defRPr>
            </a:lvl1pPr>
          </a:lstStyle>
          <a:p>
            <a:pPr marR="0" lvl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enter align content</a:t>
            </a:r>
          </a:p>
        </p:txBody>
      </p:sp>
      <p:sp>
        <p:nvSpPr>
          <p:cNvPr id="89" name="Text Placeholder 55"/>
          <p:cNvSpPr>
            <a:spLocks noGrp="1"/>
          </p:cNvSpPr>
          <p:nvPr>
            <p:ph type="body" sz="quarter" idx="45" hasCustomPrompt="1"/>
          </p:nvPr>
        </p:nvSpPr>
        <p:spPr>
          <a:xfrm>
            <a:off x="6736793" y="3494909"/>
            <a:ext cx="4495321" cy="7969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ctr"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Verdana"/>
              </a:defRPr>
            </a:lvl1pPr>
          </a:lstStyle>
          <a:p>
            <a:pPr marR="0" lvl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enter align content</a:t>
            </a:r>
          </a:p>
        </p:txBody>
      </p:sp>
      <p:sp>
        <p:nvSpPr>
          <p:cNvPr id="31" name="Text Placeholder 55">
            <a:extLst>
              <a:ext uri="{FF2B5EF4-FFF2-40B4-BE49-F238E27FC236}">
                <a16:creationId xmlns:a16="http://schemas.microsoft.com/office/drawing/2014/main" id="{5818D1CC-01F1-4E89-9DA7-7DE45FF57E5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736793" y="1493041"/>
            <a:ext cx="4495321" cy="7969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ctr"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Verdana"/>
              </a:defRPr>
            </a:lvl1pPr>
          </a:lstStyle>
          <a:p>
            <a:pPr marR="0" lvl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enter align content</a:t>
            </a:r>
          </a:p>
        </p:txBody>
      </p:sp>
      <p:sp>
        <p:nvSpPr>
          <p:cNvPr id="57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959804" y="1789647"/>
            <a:ext cx="4496400" cy="574516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171450" indent="-171450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200" b="0" dirty="0"/>
            </a:lvl1pPr>
          </a:lstStyle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</p:txBody>
      </p:sp>
      <p:sp>
        <p:nvSpPr>
          <p:cNvPr id="59" name="Text Placeholder 55"/>
          <p:cNvSpPr>
            <a:spLocks noGrp="1"/>
          </p:cNvSpPr>
          <p:nvPr>
            <p:ph type="body" sz="quarter" idx="31" hasCustomPrompt="1"/>
          </p:nvPr>
        </p:nvSpPr>
        <p:spPr>
          <a:xfrm>
            <a:off x="959804" y="1485900"/>
            <a:ext cx="4496400" cy="289694"/>
          </a:xfrm>
          <a:prstGeom prst="rect">
            <a:avLst/>
          </a:prstGeom>
        </p:spPr>
        <p:txBody>
          <a:bodyPr lIns="72000" tIns="7200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Heading, max 1-line</a:t>
            </a:r>
          </a:p>
        </p:txBody>
      </p:sp>
      <p:sp>
        <p:nvSpPr>
          <p:cNvPr id="6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59805" y="2590653"/>
            <a:ext cx="4496400" cy="144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4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62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959805" y="3826033"/>
            <a:ext cx="4496400" cy="144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4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63" name="Text Placeholder 55"/>
          <p:cNvSpPr>
            <a:spLocks noGrp="1"/>
          </p:cNvSpPr>
          <p:nvPr>
            <p:ph type="body" sz="quarter" idx="33" hasCustomPrompt="1"/>
          </p:nvPr>
        </p:nvSpPr>
        <p:spPr>
          <a:xfrm>
            <a:off x="959804" y="3043827"/>
            <a:ext cx="4496400" cy="574516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171450" indent="-171450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200" b="0" dirty="0"/>
            </a:lvl1pPr>
          </a:lstStyle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</p:txBody>
      </p:sp>
      <p:sp>
        <p:nvSpPr>
          <p:cNvPr id="65" name="Text Placeholder 55"/>
          <p:cNvSpPr>
            <a:spLocks noGrp="1"/>
          </p:cNvSpPr>
          <p:nvPr>
            <p:ph type="body" sz="quarter" idx="35" hasCustomPrompt="1"/>
          </p:nvPr>
        </p:nvSpPr>
        <p:spPr>
          <a:xfrm>
            <a:off x="959804" y="2740080"/>
            <a:ext cx="4496400" cy="289694"/>
          </a:xfrm>
          <a:prstGeom prst="rect">
            <a:avLst/>
          </a:prstGeom>
        </p:spPr>
        <p:txBody>
          <a:bodyPr lIns="72000" tIns="7200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Heading, max 1-line</a:t>
            </a:r>
          </a:p>
        </p:txBody>
      </p:sp>
      <p:sp>
        <p:nvSpPr>
          <p:cNvPr id="66" name="Text Placeholder 55"/>
          <p:cNvSpPr>
            <a:spLocks noGrp="1"/>
          </p:cNvSpPr>
          <p:nvPr>
            <p:ph type="body" sz="quarter" idx="36" hasCustomPrompt="1"/>
          </p:nvPr>
        </p:nvSpPr>
        <p:spPr>
          <a:xfrm>
            <a:off x="959804" y="4288778"/>
            <a:ext cx="4496400" cy="574516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171450" indent="-171450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200" b="0" dirty="0"/>
            </a:lvl1pPr>
          </a:lstStyle>
          <a:p>
            <a:pPr lvl="0"/>
            <a:r>
              <a:rPr lang="en-US" dirty="0"/>
              <a:t>Add text</a:t>
            </a:r>
          </a:p>
          <a:p>
            <a:pPr lvl="0"/>
            <a:r>
              <a:rPr lang="en-US" dirty="0"/>
              <a:t>Add text</a:t>
            </a:r>
          </a:p>
        </p:txBody>
      </p:sp>
      <p:sp>
        <p:nvSpPr>
          <p:cNvPr id="68" name="Text Placeholder 55"/>
          <p:cNvSpPr>
            <a:spLocks noGrp="1"/>
          </p:cNvSpPr>
          <p:nvPr>
            <p:ph type="body" sz="quarter" idx="38" hasCustomPrompt="1"/>
          </p:nvPr>
        </p:nvSpPr>
        <p:spPr>
          <a:xfrm>
            <a:off x="959804" y="3985031"/>
            <a:ext cx="4496400" cy="289694"/>
          </a:xfrm>
          <a:prstGeom prst="rect">
            <a:avLst/>
          </a:prstGeom>
        </p:spPr>
        <p:txBody>
          <a:bodyPr lIns="72000" tIns="7200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Heading, max 1-line</a:t>
            </a:r>
          </a:p>
        </p:txBody>
      </p:sp>
      <p:sp>
        <p:nvSpPr>
          <p:cNvPr id="92" name="Text Placeholder 55"/>
          <p:cNvSpPr>
            <a:spLocks noGrp="1"/>
          </p:cNvSpPr>
          <p:nvPr>
            <p:ph type="body" sz="quarter" idx="48" hasCustomPrompt="1"/>
          </p:nvPr>
        </p:nvSpPr>
        <p:spPr>
          <a:xfrm>
            <a:off x="6736793" y="4495844"/>
            <a:ext cx="4495321" cy="796994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ctr"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Verdana"/>
              </a:defRPr>
            </a:lvl1pPr>
          </a:lstStyle>
          <a:p>
            <a:pPr marR="0" lvl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enter align content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C8219C8F-5307-4848-8D09-C5C7BFF72D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vert="horz" wrap="square" lIns="72000" tIns="0" rIns="0" bIns="0" rtlCol="0" anchor="b" anchorCtr="0">
            <a:noAutofit/>
          </a:bodyPr>
          <a:lstStyle>
            <a:lvl1pPr marL="0" indent="0">
              <a:buNone/>
              <a:defRPr lang="en-US" sz="800" dirty="0">
                <a:solidFill>
                  <a:schemeClr val="accent4"/>
                </a:solidFill>
              </a:defRPr>
            </a:lvl1pPr>
          </a:lstStyle>
          <a:p>
            <a:pPr marL="200025" lvl="0" indent="-200025">
              <a:spcBef>
                <a:spcPts val="200"/>
              </a:spcBef>
            </a:pPr>
            <a:r>
              <a:rPr lang="en-US" dirty="0"/>
              <a:t>References</a:t>
            </a:r>
          </a:p>
        </p:txBody>
      </p:sp>
      <p:sp>
        <p:nvSpPr>
          <p:cNvPr id="29" name="Picture Placeholder 74">
            <a:extLst>
              <a:ext uri="{FF2B5EF4-FFF2-40B4-BE49-F238E27FC236}">
                <a16:creationId xmlns:a16="http://schemas.microsoft.com/office/drawing/2014/main" id="{E136389E-F509-472F-97A0-648694CC2FA4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66981" y="1478166"/>
            <a:ext cx="541895" cy="540946"/>
          </a:xfrm>
          <a:prstGeom prst="ellipse">
            <a:avLst/>
          </a:prstGeom>
          <a:noFill/>
          <a:ln w="12700"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ct val="0"/>
              </a:lnSpc>
              <a:spcBef>
                <a:spcPts val="0"/>
              </a:spcBef>
              <a:buNone/>
              <a:defRPr sz="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0" name="Picture Placeholder 74">
            <a:extLst>
              <a:ext uri="{FF2B5EF4-FFF2-40B4-BE49-F238E27FC236}">
                <a16:creationId xmlns:a16="http://schemas.microsoft.com/office/drawing/2014/main" id="{74FC4A38-4100-45A0-B034-C7BC107C807F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66981" y="2696786"/>
            <a:ext cx="541895" cy="540946"/>
          </a:xfrm>
          <a:prstGeom prst="ellipse">
            <a:avLst/>
          </a:prstGeom>
          <a:noFill/>
          <a:ln w="12700"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ct val="0"/>
              </a:lnSpc>
              <a:spcBef>
                <a:spcPts val="0"/>
              </a:spcBef>
              <a:buNone/>
              <a:defRPr sz="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6" name="Picture Placeholder 74">
            <a:extLst>
              <a:ext uri="{FF2B5EF4-FFF2-40B4-BE49-F238E27FC236}">
                <a16:creationId xmlns:a16="http://schemas.microsoft.com/office/drawing/2014/main" id="{F7F83630-8722-472E-824F-52F06F05A5F0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66981" y="3959517"/>
            <a:ext cx="541895" cy="540946"/>
          </a:xfrm>
          <a:prstGeom prst="ellipse">
            <a:avLst/>
          </a:prstGeom>
          <a:noFill/>
          <a:ln w="12700"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ct val="0"/>
              </a:lnSpc>
              <a:spcBef>
                <a:spcPts val="0"/>
              </a:spcBef>
              <a:buNone/>
              <a:defRPr sz="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7CA668C-7D89-42AA-A005-5605FA5E0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ED28D565-3805-430E-88A2-8B12E11667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2A2DD26-495E-48DF-83BA-E3C12C18915F}"/>
              </a:ext>
            </a:extLst>
          </p:cNvPr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0D248F2-9CAA-4B6E-B301-460CDABCA9D7}"/>
              </a:ext>
            </a:extLst>
          </p:cNvPr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A281DC7-FA13-4FC9-AA94-4F1C0A2F87D3}"/>
              </a:ext>
            </a:extLst>
          </p:cNvPr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C7D64A6-639B-44F3-9651-F69D0DBD35B3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CC0D733-6DD0-4BA9-B36A-9DD24E8AA04C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F9B87E1-092F-4132-8B8B-5682F9F558E7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8124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>
          <p15:clr>
            <a:srgbClr val="5ACBF0"/>
          </p15:clr>
        </p15:guide>
        <p15:guide id="2" pos="3749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04616F7-EB75-470F-97F3-9FE937670F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wrap="square" lIns="7200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 b="0">
                <a:solidFill>
                  <a:schemeClr val="accent4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F922B2-E7C7-42AE-936D-F6D27B4E625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E71C112-73E0-45C5-BF58-64ED71EE31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3B34E-EE2E-4CDD-8C92-61F307C900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566F18A-4D56-4FB0-8F78-601BA9236FBE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B373A09-3116-4AA5-8EDA-DD7E35167886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D7FCF9-B0B8-4368-A088-FC58B5815003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6598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Cover_B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1C66558D-8CB5-4CB4-A680-EA044F253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8318" y="2546760"/>
            <a:ext cx="6355080" cy="1175234"/>
          </a:xfrm>
        </p:spPr>
        <p:txBody>
          <a:bodyPr lIns="72000" anchor="ctr"/>
          <a:lstStyle>
            <a:lvl1pPr>
              <a:defRPr lang="de-DE" b="1" i="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Add cover titl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32DB20D-89FC-49D1-A81D-604DA36A9F2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798318" y="3724126"/>
            <a:ext cx="6354000" cy="667569"/>
          </a:xfrm>
          <a:prstGeom prst="rect">
            <a:avLst/>
          </a:prstGeom>
        </p:spPr>
        <p:txBody>
          <a:bodyPr lIns="7200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200" b="0">
                <a:solidFill>
                  <a:schemeClr val="accent2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Regular</a:t>
            </a:r>
          </a:p>
        </p:txBody>
      </p:sp>
    </p:spTree>
    <p:extLst>
      <p:ext uri="{BB962C8B-B14F-4D97-AF65-F5344CB8AC3E}">
        <p14:creationId xmlns:p14="http://schemas.microsoft.com/office/powerpoint/2010/main" val="1892329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_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2" y="3149601"/>
            <a:ext cx="8723501" cy="681795"/>
          </a:xfrm>
        </p:spPr>
        <p:txBody>
          <a:bodyPr vert="horz" lIns="72000" tIns="45720" rIns="0" bIns="45720" rtlCol="0" anchor="b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55">
            <a:extLst>
              <a:ext uri="{FF2B5EF4-FFF2-40B4-BE49-F238E27FC236}">
                <a16:creationId xmlns:a16="http://schemas.microsoft.com/office/drawing/2014/main" id="{7E23BF8E-E312-41CB-B657-0E7298E54C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9088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0" name="Text Placeholder 55">
            <a:extLst>
              <a:ext uri="{FF2B5EF4-FFF2-40B4-BE49-F238E27FC236}">
                <a16:creationId xmlns:a16="http://schemas.microsoft.com/office/drawing/2014/main" id="{C3ABF3AC-33F3-41BE-83D3-FB94BAF964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83125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1" name="Text Placeholder 55">
            <a:extLst>
              <a:ext uri="{FF2B5EF4-FFF2-40B4-BE49-F238E27FC236}">
                <a16:creationId xmlns:a16="http://schemas.microsoft.com/office/drawing/2014/main" id="{4B0A10F9-3BC6-4C82-A963-9E84745824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7163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55">
            <a:extLst>
              <a:ext uri="{FF2B5EF4-FFF2-40B4-BE49-F238E27FC236}">
                <a16:creationId xmlns:a16="http://schemas.microsoft.com/office/drawing/2014/main" id="{06489AC6-B681-4ACF-AC46-CDB73C79DB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31200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3" name="Text Placeholder 55">
            <a:extLst>
              <a:ext uri="{FF2B5EF4-FFF2-40B4-BE49-F238E27FC236}">
                <a16:creationId xmlns:a16="http://schemas.microsoft.com/office/drawing/2014/main" id="{8AB1C752-6559-4E4E-8957-F5DD70BC8C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05237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55">
            <a:extLst>
              <a:ext uri="{FF2B5EF4-FFF2-40B4-BE49-F238E27FC236}">
                <a16:creationId xmlns:a16="http://schemas.microsoft.com/office/drawing/2014/main" id="{9551E6C9-D46A-4059-A473-B6DB1B306D7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79275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55">
            <a:extLst>
              <a:ext uri="{FF2B5EF4-FFF2-40B4-BE49-F238E27FC236}">
                <a16:creationId xmlns:a16="http://schemas.microsoft.com/office/drawing/2014/main" id="{2A0C03F1-960A-498C-B039-0176403CB36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453311" y="4885779"/>
            <a:ext cx="1329600" cy="5240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B5C129C0-524C-44F2-A5E9-CC1ACB3B16B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16200000">
            <a:off x="1039496" y="5143028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291A1692-539A-4486-BDDC-EDA7A7E22D5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16200000">
            <a:off x="2711905" y="5143028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7E562F9F-A213-440F-8FE0-BF5F1F214F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16200000">
            <a:off x="4384315" y="5143029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7C831883-A7CF-485F-973E-8255B1FE41E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16200000">
            <a:off x="6056724" y="5143029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5946AEC3-3E5A-49D1-BE04-67C94D6380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16200000">
            <a:off x="7729133" y="5143029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48" name="Text Placeholder 18">
            <a:extLst>
              <a:ext uri="{FF2B5EF4-FFF2-40B4-BE49-F238E27FC236}">
                <a16:creationId xmlns:a16="http://schemas.microsoft.com/office/drawing/2014/main" id="{2579A349-A044-4CCF-9B41-84989C4D835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9401543" y="5143029"/>
            <a:ext cx="1737360" cy="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180000" tIns="216000" rIns="91440" bIns="45720" rtlCol="0" anchor="t">
            <a:noAutofit/>
          </a:bodyPr>
          <a:lstStyle>
            <a:lvl1pPr marL="0" indent="0" algn="l" defTabSz="457200">
              <a:lnSpc>
                <a:spcPct val="0"/>
              </a:lnSpc>
              <a:spcBef>
                <a:spcPts val="0"/>
              </a:spcBef>
              <a:buNone/>
              <a:defRPr lang="en-US" sz="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 defTabSz="457200"/>
            <a:r>
              <a:rPr lang="en-US" dirty="0"/>
              <a:t>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C74936-CC71-4681-9FBA-DDEE63226099}"/>
              </a:ext>
            </a:extLst>
          </p:cNvPr>
          <p:cNvSpPr>
            <a:spLocks noGrp="1"/>
          </p:cNvSpPr>
          <p:nvPr>
            <p:ph type="dt" sz="half" idx="4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B4C8FD-11FE-4166-A93A-65C90603955F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F5618D-0254-41AD-9730-07F0383D54D0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E35AC8-1D1B-4507-90C9-5A1BCAD7D9C0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CF375FA-5B2F-45AA-948C-E17A18CC94F4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A0E4EFA-258F-418E-9CC0-114BA9D39F94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0DAAFFA-D28D-4380-8D91-BBDBE467CFE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04882" y="3871383"/>
            <a:ext cx="8722800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</p:spTree>
    <p:extLst>
      <p:ext uri="{BB962C8B-B14F-4D97-AF65-F5344CB8AC3E}">
        <p14:creationId xmlns:p14="http://schemas.microsoft.com/office/powerpoint/2010/main" val="2368654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Specific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0" y="4143030"/>
            <a:ext cx="5791199" cy="506243"/>
          </a:xfrm>
          <a:solidFill>
            <a:schemeClr val="bg1"/>
          </a:solidFill>
        </p:spPr>
        <p:txBody>
          <a:bodyPr lIns="164592" tIns="118872" rIns="137160" bIns="137160" anchor="t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odu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A98A83-87FB-450A-BB49-B75665F112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4610635"/>
            <a:ext cx="5791199" cy="704088"/>
          </a:xfrm>
          <a:prstGeom prst="rect">
            <a:avLst/>
          </a:prstGeom>
          <a:solidFill>
            <a:schemeClr val="bg1"/>
          </a:solidFill>
        </p:spPr>
        <p:txBody>
          <a:bodyPr vert="horz" lIns="164592" tIns="0" rIns="137160" bIns="137160" rtlCol="0" anchor="t">
            <a:noAutofit/>
          </a:bodyPr>
          <a:lstStyle>
            <a:lvl1pPr marL="0" indent="0">
              <a:buNone/>
              <a:defRPr lang="en-US" sz="2200" b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ub heading, non-bold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981CDE3-4822-4A79-BEFC-8A9E11B7B9E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96000" y="5348552"/>
            <a:ext cx="5791199" cy="248419"/>
          </a:xfrm>
          <a:prstGeom prst="rect">
            <a:avLst/>
          </a:prstGeom>
        </p:spPr>
        <p:txBody>
          <a:bodyPr lIns="165600" anchor="ctr"/>
          <a:lstStyle>
            <a:lvl1pPr marL="0" indent="0">
              <a:lnSpc>
                <a:spcPct val="100000"/>
              </a:lnSpc>
              <a:buFontTx/>
              <a:buNone/>
              <a:defRPr sz="1100" b="0">
                <a:solidFill>
                  <a:schemeClr val="accent2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1400"/>
            </a:lvl2pPr>
            <a:lvl3pPr marL="1085850" indent="-171450">
              <a:buFont typeface="Arial" panose="020B0604020202020204" pitchFamily="34" charset="0"/>
              <a:buChar char="•"/>
              <a:defRPr sz="1100"/>
            </a:lvl3pPr>
            <a:lvl4pPr marL="1543050" indent="-171450">
              <a:buFont typeface="Arial" panose="020B0604020202020204" pitchFamily="34" charset="0"/>
              <a:buChar char="•"/>
              <a:defRPr sz="900"/>
            </a:lvl4pPr>
            <a:lvl5pPr marL="2000250" indent="-171450">
              <a:buFont typeface="Arial" panose="020B0604020202020204" pitchFamily="34" charset="0"/>
              <a:buChar char="•"/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Subline (Author, Date and Location) edit here</a:t>
            </a:r>
          </a:p>
        </p:txBody>
      </p:sp>
    </p:spTree>
    <p:extLst>
      <p:ext uri="{BB962C8B-B14F-4D97-AF65-F5344CB8AC3E}">
        <p14:creationId xmlns:p14="http://schemas.microsoft.com/office/powerpoint/2010/main" val="37050094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177600"/>
            <a:ext cx="9273256" cy="216000"/>
          </a:xfrm>
          <a:prstGeom prst="rect">
            <a:avLst/>
          </a:prstGeom>
        </p:spPr>
        <p:txBody>
          <a:bodyPr wrap="square" lIns="7200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 b="0">
                <a:solidFill>
                  <a:schemeClr val="accent4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CD5C06-41D5-4FA0-AA07-41B8D1A01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82" y="822550"/>
            <a:ext cx="11582319" cy="28235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7217F5-92CB-4993-A22A-04E04B6E292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800" y="1409700"/>
            <a:ext cx="11582400" cy="4610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936296-25A5-4D14-86C1-4D793A28C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34A8E8-988C-4EF7-ADDB-B6E7403AC73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265306-D026-41CA-87EB-8CECDE169020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C1CF0B-81F9-4C7D-9A00-AF4544F129B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2E89ECE-B04C-4E3B-8D89-17696BC911D4}"/>
              </a:ext>
            </a:extLst>
          </p:cNvPr>
          <p:cNvGrpSpPr/>
          <p:nvPr/>
        </p:nvGrpSpPr>
        <p:grpSpPr>
          <a:xfrm>
            <a:off x="718557" y="6461885"/>
            <a:ext cx="1192214" cy="183925"/>
            <a:chOff x="718557" y="6461885"/>
            <a:chExt cx="1192214" cy="183925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6F9BAC9-85C7-4471-9F1C-875218EB1627}"/>
                </a:ext>
              </a:extLst>
            </p:cNvPr>
            <p:cNvCxnSpPr/>
            <p:nvPr/>
          </p:nvCxnSpPr>
          <p:spPr>
            <a:xfrm>
              <a:off x="718557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73474E5-377C-4388-8175-D7F8D8F18AA3}"/>
                </a:ext>
              </a:extLst>
            </p:cNvPr>
            <p:cNvCxnSpPr/>
            <p:nvPr/>
          </p:nvCxnSpPr>
          <p:spPr>
            <a:xfrm>
              <a:off x="1910771" y="6461885"/>
              <a:ext cx="0" cy="183925"/>
            </a:xfrm>
            <a:prstGeom prst="line">
              <a:avLst/>
            </a:prstGeom>
            <a:ln w="9525">
              <a:solidFill>
                <a:schemeClr val="accent4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3884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3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38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5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image" Target="../media/image1.emf"/><Relationship Id="rId40" Type="http://schemas.openxmlformats.org/officeDocument/2006/relationships/oleObject" Target="../embeddings/oleObject4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9" Type="http://schemas.openxmlformats.org/officeDocument/2006/relationships/oleObject" Target="../embeddings/oleObject19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tags" Target="../tags/tag19.xml"/><Relationship Id="rId38" Type="http://schemas.openxmlformats.org/officeDocument/2006/relationships/oleObject" Target="../embeddings/oleObject18.bin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2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7.bin"/><Relationship Id="rId40" Type="http://schemas.openxmlformats.org/officeDocument/2006/relationships/oleObject" Target="../embeddings/oleObject20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ags" Target="../tags/tag16.xml"/><Relationship Id="rId35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359" imgH="357" progId="TCLayout.ActiveDocument.1">
                  <p:embed/>
                </p:oleObj>
              </mc:Choice>
              <mc:Fallback>
                <p:oleObj name="think-cell Folie" r:id="rId36" imgW="359" imgH="357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4800" y="473915"/>
            <a:ext cx="11581200" cy="385200"/>
          </a:xfrm>
          <a:prstGeom prst="rect">
            <a:avLst/>
          </a:prstGeom>
        </p:spPr>
        <p:txBody>
          <a:bodyPr vert="horz" lIns="72000" tIns="0" rIns="7200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97557" y="6404233"/>
            <a:ext cx="6294651" cy="21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en-US" sz="800" baseline="0" dirty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11149" y="6404233"/>
            <a:ext cx="360000" cy="216000"/>
          </a:xfrm>
          <a:prstGeom prst="rect">
            <a:avLst/>
          </a:prstGeom>
        </p:spPr>
        <p:txBody>
          <a:bodyPr vert="horz" lIns="72000" tIns="0" rIns="0" bIns="0" rtlCol="0" anchor="b" anchorCtr="0">
            <a:noAutofit/>
          </a:bodyPr>
          <a:lstStyle>
            <a:lvl1pPr>
              <a:defRPr lang="en-US" sz="800" baseline="0" smtClean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9BF93-3748-4C85-A40E-6CE8D618504B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763707" y="6404233"/>
            <a:ext cx="1091517" cy="21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spcBef>
                <a:spcPts val="200"/>
              </a:spcBef>
              <a:defRPr sz="800" cap="all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63435-031D-405C-9010-7485BFA7951E}" type="datetime5">
              <a:rPr kumimoji="0" lang="en-IN" sz="800" b="0" i="0" u="none" strike="noStrike" kern="1200" cap="all" spc="0" normalizeH="0" baseline="0" noProof="0" smtClean="0">
                <a:ln>
                  <a:noFill/>
                </a:ln>
                <a:solidFill>
                  <a:srgbClr val="8E929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-Oct-23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8E929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2" name="Objekt 6" hidden="1">
            <a:extLst>
              <a:ext uri="{FF2B5EF4-FFF2-40B4-BE49-F238E27FC236}">
                <a16:creationId xmlns:a16="http://schemas.microsoft.com/office/drawing/2014/main" id="{48AEB6E2-18BF-4967-A184-A5B662FC6818}"/>
              </a:ext>
            </a:extLst>
          </p:cNvPr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59" imgH="357" progId="TCLayout.ActiveDocument.1">
                  <p:embed/>
                </p:oleObj>
              </mc:Choice>
              <mc:Fallback>
                <p:oleObj name="think-cell Folie" r:id="rId38" imgW="359" imgH="357" progId="TCLayout.ActiveDocument.1">
                  <p:embed/>
                  <p:pic>
                    <p:nvPicPr>
                      <p:cNvPr id="12" name="Objekt 6" hidden="1">
                        <a:extLst>
                          <a:ext uri="{FF2B5EF4-FFF2-40B4-BE49-F238E27FC236}">
                            <a16:creationId xmlns:a16="http://schemas.microsoft.com/office/drawing/2014/main" id="{48AEB6E2-18BF-4967-A184-A5B662FC6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6" hidden="1">
            <a:extLst>
              <a:ext uri="{FF2B5EF4-FFF2-40B4-BE49-F238E27FC236}">
                <a16:creationId xmlns:a16="http://schemas.microsoft.com/office/drawing/2014/main" id="{7F9242CB-DAFB-4285-AD7C-02D740AD6DBA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9" imgW="359" imgH="357" progId="TCLayout.ActiveDocument.1">
                  <p:embed/>
                </p:oleObj>
              </mc:Choice>
              <mc:Fallback>
                <p:oleObj name="think-cell Folie" r:id="rId39" imgW="359" imgH="357" progId="TCLayout.ActiveDocument.1">
                  <p:embed/>
                  <p:pic>
                    <p:nvPicPr>
                      <p:cNvPr id="15" name="Objekt 6" hidden="1">
                        <a:extLst>
                          <a:ext uri="{FF2B5EF4-FFF2-40B4-BE49-F238E27FC236}">
                            <a16:creationId xmlns:a16="http://schemas.microsoft.com/office/drawing/2014/main" id="{7F9242CB-DAFB-4285-AD7C-02D740AD6D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6" hidden="1">
            <a:extLst>
              <a:ext uri="{FF2B5EF4-FFF2-40B4-BE49-F238E27FC236}">
                <a16:creationId xmlns:a16="http://schemas.microsoft.com/office/drawing/2014/main" id="{B0862291-829B-471E-9096-42685B9898C6}"/>
              </a:ext>
            </a:extLst>
          </p:cNvPr>
          <p:cNvGraphicFramePr>
            <a:graphicFrameLocks noChangeAspect="1"/>
          </p:cNvGraphicFramePr>
          <p:nvPr>
            <p:custDataLst>
              <p:tags r:id="rId3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0" imgW="359" imgH="357" progId="TCLayout.ActiveDocument.1">
                  <p:embed/>
                </p:oleObj>
              </mc:Choice>
              <mc:Fallback>
                <p:oleObj name="think-cell Folie" r:id="rId40" imgW="359" imgH="357" progId="TCLayout.ActiveDocument.1">
                  <p:embed/>
                  <p:pic>
                    <p:nvPicPr>
                      <p:cNvPr id="17" name="Objekt 6" hidden="1">
                        <a:extLst>
                          <a:ext uri="{FF2B5EF4-FFF2-40B4-BE49-F238E27FC236}">
                            <a16:creationId xmlns:a16="http://schemas.microsoft.com/office/drawing/2014/main" id="{B0862291-829B-471E-9096-42685B989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6" hidden="1">
            <a:extLst>
              <a:ext uri="{FF2B5EF4-FFF2-40B4-BE49-F238E27FC236}">
                <a16:creationId xmlns:a16="http://schemas.microsoft.com/office/drawing/2014/main" id="{CE7AEE21-9A84-4079-851C-5DCFDDDEF57A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1" imgW="359" imgH="357" progId="TCLayout.ActiveDocument.1">
                  <p:embed/>
                </p:oleObj>
              </mc:Choice>
              <mc:Fallback>
                <p:oleObj name="think-cell Folie" r:id="rId41" imgW="359" imgH="357" progId="TCLayout.ActiveDocument.1">
                  <p:embed/>
                  <p:pic>
                    <p:nvPicPr>
                      <p:cNvPr id="16" name="Objekt 6" hidden="1">
                        <a:extLst>
                          <a:ext uri="{FF2B5EF4-FFF2-40B4-BE49-F238E27FC236}">
                            <a16:creationId xmlns:a16="http://schemas.microsoft.com/office/drawing/2014/main" id="{CE7AEE21-9A84-4079-851C-5DCFDDDEF5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71A2A2-A968-4605-86D4-412F8001C5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409700"/>
            <a:ext cx="11582400" cy="4610100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N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C9530241-B0F9-44A4-BE35-F144565DB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0483801" y="6436785"/>
            <a:ext cx="1404000" cy="28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5572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  <p:sldLayoutId id="2147483745" r:id="rId26"/>
    <p:sldLayoutId id="2147483746" r:id="rId27"/>
    <p:sldLayoutId id="2147483747" r:id="rId28"/>
    <p:sldLayoutId id="2147483748" r:id="rId29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0025" indent="-200025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lang="en-US" sz="1400" b="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17145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lang="en-US" sz="1200" b="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684000" indent="-17145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tabLst/>
        <a:defRPr lang="en-US" sz="1050" b="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7145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Arial" panose="020B0604020202020204" pitchFamily="34" charset="0"/>
        <a:buChar char="•"/>
        <a:defRPr lang="en-US" sz="105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152000" marR="0" indent="-17145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SzTx/>
        <a:buFont typeface="Arial" panose="020B0604020202020204" pitchFamily="34" charset="0"/>
        <a:buChar char="•"/>
        <a:tabLst/>
        <a:defRPr lang="en-IN" sz="1050" b="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165860" indent="-171450" algn="l" defTabSz="914400" rtl="0" eaLnBrk="1" latinLnBrk="0" hangingPunct="1">
        <a:spcBef>
          <a:spcPts val="100"/>
        </a:spcBef>
        <a:spcAft>
          <a:spcPts val="100"/>
        </a:spcAft>
        <a:buClr>
          <a:schemeClr val="tx1"/>
        </a:buClr>
        <a:buFont typeface="Arial" panose="020B0604020202020204" pitchFamily="34" charset="0"/>
        <a:buChar char="•"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497330" indent="-171450" algn="l" defTabSz="914400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192">
          <p15:clr>
            <a:srgbClr val="F26B43"/>
          </p15:clr>
        </p15:guide>
        <p15:guide id="9" pos="7488">
          <p15:clr>
            <a:srgbClr val="F26B43"/>
          </p15:clr>
        </p15:guide>
        <p15:guide id="10" orient="horz" pos="696">
          <p15:clr>
            <a:srgbClr val="F26B43"/>
          </p15:clr>
        </p15:guide>
        <p15:guide id="11" orient="horz" pos="888">
          <p15:clr>
            <a:srgbClr val="F26B43"/>
          </p15:clr>
        </p15:guide>
        <p15:guide id="12" orient="horz" pos="3792">
          <p15:clr>
            <a:srgbClr val="F26B43"/>
          </p15:clr>
        </p15:guide>
        <p15:guide id="13" orient="horz" pos="4176">
          <p15:clr>
            <a:srgbClr val="F26B43"/>
          </p15:clr>
        </p15:guide>
        <p15:guide id="14" orient="horz" pos="4032">
          <p15:clr>
            <a:srgbClr val="F26B43"/>
          </p15:clr>
        </p15:guide>
        <p15:guide id="15" orient="horz" pos="119">
          <p15:clr>
            <a:srgbClr val="F26B43"/>
          </p15:clr>
        </p15:guide>
        <p15:guide id="16" orient="horz" pos="2160">
          <p15:clr>
            <a:srgbClr val="F26B43"/>
          </p15:clr>
        </p15:guide>
        <p15:guide id="17" pos="3840">
          <p15:clr>
            <a:srgbClr val="F26B43"/>
          </p15:clr>
        </p15:guide>
        <p15:guide id="18" orient="horz" pos="3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9926045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359" imgH="357" progId="TCLayout.ActiveDocument.1">
                  <p:embed/>
                </p:oleObj>
              </mc:Choice>
              <mc:Fallback>
                <p:oleObj name="think-cell Folie" r:id="rId35" imgW="359" imgH="357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4800" y="473915"/>
            <a:ext cx="11581200" cy="385200"/>
          </a:xfrm>
          <a:prstGeom prst="rect">
            <a:avLst/>
          </a:prstGeom>
        </p:spPr>
        <p:txBody>
          <a:bodyPr vert="horz" lIns="72000" tIns="0" rIns="7200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97557" y="6404233"/>
            <a:ext cx="6294651" cy="21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en-US" sz="800" baseline="0" dirty="0">
                <a:solidFill>
                  <a:schemeClr val="accent4"/>
                </a:solidFill>
              </a:defRPr>
            </a:lvl1pPr>
          </a:lstStyle>
          <a:p>
            <a:endParaRPr lang="en-IN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11149" y="6404233"/>
            <a:ext cx="360000" cy="216000"/>
          </a:xfrm>
          <a:prstGeom prst="rect">
            <a:avLst/>
          </a:prstGeom>
        </p:spPr>
        <p:txBody>
          <a:bodyPr vert="horz" lIns="72000" tIns="0" rIns="0" bIns="0" rtlCol="0" anchor="b" anchorCtr="0">
            <a:noAutofit/>
          </a:bodyPr>
          <a:lstStyle>
            <a:lvl1pPr>
              <a:defRPr lang="en-US" sz="800" baseline="0" smtClean="0">
                <a:solidFill>
                  <a:schemeClr val="accent4"/>
                </a:solidFill>
              </a:defRPr>
            </a:lvl1pPr>
          </a:lstStyle>
          <a:p>
            <a:fld id="{DF09BF93-3748-4C85-A40E-6CE8D618504B}" type="slidenum">
              <a:rPr lang="en-IN" smtClean="0"/>
              <a:pPr/>
              <a:t>‹N°›</a:t>
            </a:fld>
            <a:endParaRPr lang="en-IN"/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763707" y="6404233"/>
            <a:ext cx="1091517" cy="21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spcBef>
                <a:spcPts val="200"/>
              </a:spcBef>
              <a:defRPr sz="800" cap="all" baseline="0">
                <a:solidFill>
                  <a:schemeClr val="accent4"/>
                </a:solidFill>
              </a:defRPr>
            </a:lvl1pPr>
          </a:lstStyle>
          <a:p>
            <a:fld id="{36A63435-031D-405C-9010-7485BFA7951E}" type="datetime5">
              <a:rPr lang="en-IN" smtClean="0"/>
              <a:pPr/>
              <a:t>6-Oct-23</a:t>
            </a:fld>
            <a:endParaRPr lang="en-US" dirty="0"/>
          </a:p>
        </p:txBody>
      </p:sp>
      <p:graphicFrame>
        <p:nvGraphicFramePr>
          <p:cNvPr id="12" name="Objekt 6" hidden="1">
            <a:extLst>
              <a:ext uri="{FF2B5EF4-FFF2-40B4-BE49-F238E27FC236}">
                <a16:creationId xmlns:a16="http://schemas.microsoft.com/office/drawing/2014/main" id="{48AEB6E2-18BF-4967-A184-A5B662FC6818}"/>
              </a:ext>
            </a:extLst>
          </p:cNvPr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79236446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359" imgH="357" progId="TCLayout.ActiveDocument.1">
                  <p:embed/>
                </p:oleObj>
              </mc:Choice>
              <mc:Fallback>
                <p:oleObj name="think-cell Folie" r:id="rId37" imgW="359" imgH="357" progId="TCLayout.ActiveDocument.1">
                  <p:embed/>
                  <p:pic>
                    <p:nvPicPr>
                      <p:cNvPr id="12" name="Objekt 6" hidden="1">
                        <a:extLst>
                          <a:ext uri="{FF2B5EF4-FFF2-40B4-BE49-F238E27FC236}">
                            <a16:creationId xmlns:a16="http://schemas.microsoft.com/office/drawing/2014/main" id="{48AEB6E2-18BF-4967-A184-A5B662FC6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6" hidden="1">
            <a:extLst>
              <a:ext uri="{FF2B5EF4-FFF2-40B4-BE49-F238E27FC236}">
                <a16:creationId xmlns:a16="http://schemas.microsoft.com/office/drawing/2014/main" id="{7F9242CB-DAFB-4285-AD7C-02D740AD6DBA}"/>
              </a:ext>
            </a:extLst>
          </p:cNvPr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9144296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59" imgH="357" progId="TCLayout.ActiveDocument.1">
                  <p:embed/>
                </p:oleObj>
              </mc:Choice>
              <mc:Fallback>
                <p:oleObj name="think-cell Folie" r:id="rId38" imgW="359" imgH="357" progId="TCLayout.ActiveDocument.1">
                  <p:embed/>
                  <p:pic>
                    <p:nvPicPr>
                      <p:cNvPr id="15" name="Objekt 6" hidden="1">
                        <a:extLst>
                          <a:ext uri="{FF2B5EF4-FFF2-40B4-BE49-F238E27FC236}">
                            <a16:creationId xmlns:a16="http://schemas.microsoft.com/office/drawing/2014/main" id="{7F9242CB-DAFB-4285-AD7C-02D740AD6D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6" hidden="1">
            <a:extLst>
              <a:ext uri="{FF2B5EF4-FFF2-40B4-BE49-F238E27FC236}">
                <a16:creationId xmlns:a16="http://schemas.microsoft.com/office/drawing/2014/main" id="{B0862291-829B-471E-9096-42685B9898C6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5777939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9" imgW="359" imgH="357" progId="TCLayout.ActiveDocument.1">
                  <p:embed/>
                </p:oleObj>
              </mc:Choice>
              <mc:Fallback>
                <p:oleObj name="think-cell Folie" r:id="rId39" imgW="359" imgH="357" progId="TCLayout.ActiveDocument.1">
                  <p:embed/>
                  <p:pic>
                    <p:nvPicPr>
                      <p:cNvPr id="17" name="Objekt 6" hidden="1">
                        <a:extLst>
                          <a:ext uri="{FF2B5EF4-FFF2-40B4-BE49-F238E27FC236}">
                            <a16:creationId xmlns:a16="http://schemas.microsoft.com/office/drawing/2014/main" id="{B0862291-829B-471E-9096-42685B989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6" hidden="1">
            <a:extLst>
              <a:ext uri="{FF2B5EF4-FFF2-40B4-BE49-F238E27FC236}">
                <a16:creationId xmlns:a16="http://schemas.microsoft.com/office/drawing/2014/main" id="{CE7AEE21-9A84-4079-851C-5DCFDDDEF57A}"/>
              </a:ext>
            </a:extLst>
          </p:cNvPr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5669696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0" imgW="359" imgH="357" progId="TCLayout.ActiveDocument.1">
                  <p:embed/>
                </p:oleObj>
              </mc:Choice>
              <mc:Fallback>
                <p:oleObj name="think-cell Folie" r:id="rId40" imgW="359" imgH="357" progId="TCLayout.ActiveDocument.1">
                  <p:embed/>
                  <p:pic>
                    <p:nvPicPr>
                      <p:cNvPr id="16" name="Objekt 6" hidden="1">
                        <a:extLst>
                          <a:ext uri="{FF2B5EF4-FFF2-40B4-BE49-F238E27FC236}">
                            <a16:creationId xmlns:a16="http://schemas.microsoft.com/office/drawing/2014/main" id="{CE7AEE21-9A84-4079-851C-5DCFDDDEF5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71A2A2-A968-4605-86D4-412F8001C5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409700"/>
            <a:ext cx="11582400" cy="4610100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C9530241-B0F9-44A4-BE35-F144565DB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0483801" y="6436785"/>
            <a:ext cx="1404000" cy="28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1787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674" r:id="rId3"/>
    <p:sldLayoutId id="2147483683" r:id="rId4"/>
    <p:sldLayoutId id="2147483679" r:id="rId5"/>
    <p:sldLayoutId id="2147483677" r:id="rId6"/>
    <p:sldLayoutId id="2147483681" r:id="rId7"/>
    <p:sldLayoutId id="2147483707" r:id="rId8"/>
    <p:sldLayoutId id="2147483684" r:id="rId9"/>
    <p:sldLayoutId id="2147483685" r:id="rId10"/>
    <p:sldLayoutId id="2147483686" r:id="rId11"/>
    <p:sldLayoutId id="2147483712" r:id="rId12"/>
    <p:sldLayoutId id="2147483713" r:id="rId13"/>
    <p:sldLayoutId id="2147483714" r:id="rId14"/>
    <p:sldLayoutId id="2147483688" r:id="rId15"/>
    <p:sldLayoutId id="2147483689" r:id="rId16"/>
    <p:sldLayoutId id="2147483691" r:id="rId17"/>
    <p:sldLayoutId id="2147483715" r:id="rId18"/>
    <p:sldLayoutId id="2147483700" r:id="rId19"/>
    <p:sldLayoutId id="2147483716" r:id="rId20"/>
    <p:sldLayoutId id="2147483717" r:id="rId21"/>
    <p:sldLayoutId id="2147483709" r:id="rId22"/>
    <p:sldLayoutId id="2147483718" r:id="rId23"/>
    <p:sldLayoutId id="2147483698" r:id="rId24"/>
    <p:sldLayoutId id="2147483705" r:id="rId25"/>
    <p:sldLayoutId id="2147483703" r:id="rId26"/>
    <p:sldLayoutId id="2147483704" r:id="rId27"/>
    <p:sldLayoutId id="2147483706" r:id="rId28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0025" indent="-200025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lang="en-US" sz="1400" b="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17145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lang="en-US" sz="1200" b="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684000" indent="-17145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tabLst/>
        <a:defRPr lang="en-US" sz="1050" b="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7145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Arial" panose="020B0604020202020204" pitchFamily="34" charset="0"/>
        <a:buChar char="•"/>
        <a:defRPr lang="en-US" sz="105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152000" marR="0" indent="-17145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SzTx/>
        <a:buFont typeface="Arial" panose="020B0604020202020204" pitchFamily="34" charset="0"/>
        <a:buChar char="•"/>
        <a:tabLst/>
        <a:defRPr lang="en-IN" sz="1050" b="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165860" indent="-171450" algn="l" defTabSz="914400" rtl="0" eaLnBrk="1" latinLnBrk="0" hangingPunct="1">
        <a:spcBef>
          <a:spcPts val="100"/>
        </a:spcBef>
        <a:spcAft>
          <a:spcPts val="100"/>
        </a:spcAft>
        <a:buClr>
          <a:schemeClr val="tx1"/>
        </a:buClr>
        <a:buFont typeface="Arial" panose="020B0604020202020204" pitchFamily="34" charset="0"/>
        <a:buChar char="•"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497330" indent="-171450" algn="l" defTabSz="914400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192">
          <p15:clr>
            <a:srgbClr val="F26B43"/>
          </p15:clr>
        </p15:guide>
        <p15:guide id="9" pos="7488">
          <p15:clr>
            <a:srgbClr val="F26B43"/>
          </p15:clr>
        </p15:guide>
        <p15:guide id="10" orient="horz" pos="696">
          <p15:clr>
            <a:srgbClr val="F26B43"/>
          </p15:clr>
        </p15:guide>
        <p15:guide id="11" orient="horz" pos="888">
          <p15:clr>
            <a:srgbClr val="F26B43"/>
          </p15:clr>
        </p15:guide>
        <p15:guide id="12" orient="horz" pos="3792">
          <p15:clr>
            <a:srgbClr val="F26B43"/>
          </p15:clr>
        </p15:guide>
        <p15:guide id="13" orient="horz" pos="4176">
          <p15:clr>
            <a:srgbClr val="F26B43"/>
          </p15:clr>
        </p15:guide>
        <p15:guide id="14" orient="horz" pos="4032">
          <p15:clr>
            <a:srgbClr val="F26B43"/>
          </p15:clr>
        </p15:guide>
        <p15:guide id="15" orient="horz" pos="119">
          <p15:clr>
            <a:srgbClr val="F26B43"/>
          </p15:clr>
        </p15:guide>
        <p15:guide id="16" orient="horz" pos="2160">
          <p15:clr>
            <a:srgbClr val="F26B43"/>
          </p15:clr>
        </p15:guide>
        <p15:guide id="17" pos="3840">
          <p15:clr>
            <a:srgbClr val="F26B43"/>
          </p15:clr>
        </p15:guide>
        <p15:guide id="18" orient="horz" pos="33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media" Target="../media/media4.mp4"/><Relationship Id="rId7" Type="http://schemas.openxmlformats.org/officeDocument/2006/relationships/image" Target="../media/image18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17.png"/><Relationship Id="rId5" Type="http://schemas.openxmlformats.org/officeDocument/2006/relationships/slideLayout" Target="../slideLayouts/slideLayout9.xml"/><Relationship Id="rId4" Type="http://schemas.openxmlformats.org/officeDocument/2006/relationships/video" Target="../media/media4.mp4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673" y="781292"/>
            <a:ext cx="9973778" cy="6076708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fr-FR" sz="3600" b="1" dirty="0"/>
              <a:t>TRAITEMENT D’UNE DISSECTION AORTIQUE AIGUE AVEC FENESTRATION PERCUTANEE &amp; STENT RENAL DROIT</a:t>
            </a:r>
          </a:p>
          <a:p>
            <a:pPr marL="0" indent="0" algn="ctr">
              <a:buNone/>
            </a:pPr>
            <a:endParaRPr lang="fr-FR" sz="2800" b="1" dirty="0"/>
          </a:p>
          <a:p>
            <a:pPr marL="0" indent="0" algn="ctr">
              <a:buNone/>
            </a:pPr>
            <a:endParaRPr lang="fr-FR" sz="2800" b="1" dirty="0"/>
          </a:p>
          <a:p>
            <a:pPr marL="0" indent="0" algn="ctr">
              <a:buNone/>
            </a:pPr>
            <a:r>
              <a:rPr lang="fr-FR" sz="2400" i="1" dirty="0"/>
              <a:t>Dr A. Kerzmann, MD</a:t>
            </a:r>
          </a:p>
          <a:p>
            <a:pPr marL="0" indent="0" algn="ctr">
              <a:buNone/>
            </a:pPr>
            <a:endParaRPr lang="fr-FR" sz="2400" dirty="0"/>
          </a:p>
          <a:p>
            <a:pPr marL="0" indent="0" algn="ctr">
              <a:buNone/>
            </a:pPr>
            <a:r>
              <a:rPr lang="fr-FR" sz="2400" dirty="0"/>
              <a:t>Les rendez-vous d’automne du périphérique</a:t>
            </a:r>
          </a:p>
          <a:p>
            <a:pPr marL="0" indent="0" algn="ctr">
              <a:buNone/>
            </a:pPr>
            <a:r>
              <a:rPr lang="fr-FR" sz="2400" dirty="0" err="1"/>
              <a:t>Naxhelet</a:t>
            </a:r>
            <a:r>
              <a:rPr lang="fr-FR" sz="2400" dirty="0"/>
              <a:t>, 6-7 octobre 2023</a:t>
            </a:r>
            <a:endParaRPr lang="en-US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B3A8DFB0-5948-C884-55D8-0382072CD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9027" y="3609033"/>
            <a:ext cx="2341565" cy="1607631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7FD3E1BC-4EBF-F995-6DC0-B213D4F3B1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3319" y="3537059"/>
            <a:ext cx="1751577" cy="1751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6935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r>
              <a:rPr lang="fr-FR" sz="2400" dirty="0"/>
              <a:t>Dissection aortique subaiguë de type B selon Stanford, compliquée d’ischémie rénale</a:t>
            </a:r>
          </a:p>
          <a:p>
            <a:endParaRPr lang="fr-FR" sz="2400" dirty="0"/>
          </a:p>
          <a:p>
            <a:r>
              <a:rPr lang="fr-FR" sz="2400" dirty="0"/>
              <a:t>Options thérapeutiques</a:t>
            </a:r>
          </a:p>
          <a:p>
            <a:pPr marL="1325880" lvl="6" indent="0">
              <a:buNone/>
            </a:pPr>
            <a:r>
              <a:rPr lang="fr-FR" sz="2400" dirty="0"/>
              <a:t>→  TEVAR</a:t>
            </a:r>
          </a:p>
          <a:p>
            <a:pPr marL="1325880" lvl="6" indent="0">
              <a:buNone/>
            </a:pPr>
            <a:r>
              <a:rPr lang="fr-FR" sz="2400" dirty="0"/>
              <a:t>→  pontage </a:t>
            </a:r>
            <a:r>
              <a:rPr lang="fr-FR" sz="2400" dirty="0" err="1"/>
              <a:t>carotido</a:t>
            </a:r>
            <a:r>
              <a:rPr lang="fr-FR" sz="2400" dirty="0"/>
              <a:t>-sous-clavier gauche + TEVAR</a:t>
            </a:r>
          </a:p>
          <a:p>
            <a:pPr marL="1325880" lvl="6" indent="0">
              <a:buNone/>
            </a:pPr>
            <a:r>
              <a:rPr lang="fr-FR" sz="2400" dirty="0"/>
              <a:t>→  TEVAR + </a:t>
            </a:r>
            <a:r>
              <a:rPr lang="fr-FR" sz="2400" dirty="0" err="1"/>
              <a:t>stenting</a:t>
            </a:r>
            <a:r>
              <a:rPr lang="fr-FR" sz="2400" dirty="0"/>
              <a:t> de toute l’aorte</a:t>
            </a:r>
          </a:p>
          <a:p>
            <a:pPr marL="1325880" lvl="6" indent="0">
              <a:buNone/>
            </a:pPr>
            <a:r>
              <a:rPr lang="fr-FR" sz="2400" dirty="0"/>
              <a:t>→  fenestration par laparotomie</a:t>
            </a:r>
          </a:p>
          <a:p>
            <a:pPr marL="1325880" lvl="6" indent="0">
              <a:buNone/>
            </a:pPr>
            <a:r>
              <a:rPr lang="fr-FR" sz="2400" dirty="0"/>
              <a:t>→  fenestration percutanée</a:t>
            </a:r>
          </a:p>
          <a:p>
            <a:pPr marL="1325880" lvl="6" indent="0">
              <a:buNone/>
            </a:pPr>
            <a:r>
              <a:rPr lang="fr-FR" sz="2400" dirty="0"/>
              <a:t>→  autres?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Stratégie opératoire (1)</a:t>
            </a:r>
          </a:p>
        </p:txBody>
      </p:sp>
    </p:spTree>
    <p:extLst>
      <p:ext uri="{BB962C8B-B14F-4D97-AF65-F5344CB8AC3E}">
        <p14:creationId xmlns:p14="http://schemas.microsoft.com/office/powerpoint/2010/main" val="256038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r>
              <a:rPr lang="fr-FR" sz="2400" dirty="0"/>
              <a:t>Décision de faire une fenestration percutanée</a:t>
            </a:r>
          </a:p>
          <a:p>
            <a:endParaRPr lang="fr-FR" sz="2400" dirty="0"/>
          </a:p>
          <a:p>
            <a:r>
              <a:rPr lang="fr-FR" sz="2400" dirty="0"/>
              <a:t>Anesthésie générale</a:t>
            </a:r>
          </a:p>
          <a:p>
            <a:endParaRPr lang="fr-FR" sz="2400" dirty="0"/>
          </a:p>
          <a:p>
            <a:r>
              <a:rPr lang="fr-FR" sz="2400" dirty="0"/>
              <a:t>Ponction des 2 artères fémorales communes avec des introducteurs 6 F Héparine 100 UI/kg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Eventuellement	 - perforation du </a:t>
            </a:r>
            <a:r>
              <a:rPr lang="fr-FR" sz="2400" dirty="0" err="1"/>
              <a:t>flap</a:t>
            </a:r>
            <a:r>
              <a:rPr lang="fr-FR" sz="2400" dirty="0"/>
              <a:t> </a:t>
            </a:r>
            <a:r>
              <a:rPr lang="fr-FR" sz="2400" dirty="0" err="1"/>
              <a:t>intimal</a:t>
            </a:r>
            <a:endParaRPr lang="fr-FR" sz="2400" dirty="0"/>
          </a:p>
          <a:p>
            <a:pPr marL="0" indent="0">
              <a:buNone/>
            </a:pPr>
            <a:r>
              <a:rPr lang="fr-FR" sz="2400" dirty="0"/>
              <a:t>                          - introducteur 8 F et introducteur 6 F de 45 cm</a:t>
            </a:r>
          </a:p>
          <a:p>
            <a:pPr marL="0" indent="0">
              <a:buNone/>
            </a:pPr>
            <a:r>
              <a:rPr lang="fr-FR" sz="2400" dirty="0"/>
              <a:t>			 - accès via artère sous-clavière gauche  </a:t>
            </a:r>
          </a:p>
          <a:p>
            <a:pPr lvl="7"/>
            <a:endParaRPr lang="fr-FR" sz="4200" dirty="0"/>
          </a:p>
          <a:p>
            <a:endParaRPr lang="fr-FR" sz="30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Stratégie opératoire (2)</a:t>
            </a:r>
          </a:p>
        </p:txBody>
      </p:sp>
    </p:spTree>
    <p:extLst>
      <p:ext uri="{BB962C8B-B14F-4D97-AF65-F5344CB8AC3E}">
        <p14:creationId xmlns:p14="http://schemas.microsoft.com/office/powerpoint/2010/main" val="2379236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" name="Graues bild">
            <a:hlinkClick r:id="" action="ppaction://media"/>
            <a:extLst>
              <a:ext uri="{FF2B5EF4-FFF2-40B4-BE49-F238E27FC236}">
                <a16:creationId xmlns:a16="http://schemas.microsoft.com/office/drawing/2014/main" id="{BB60E32E-DE24-1CC5-B7FD-0BA240001402}"/>
              </a:ext>
            </a:extLst>
          </p:cNvPr>
          <p:cNvPicPr>
            <a:picLocks noGrp="1" noChangeAspect="1"/>
          </p:cNvPicPr>
          <p:nvPr>
            <p:ph sz="quarter" idx="25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l="33252" t="20389" r="33280" b="-339"/>
          <a:stretch/>
        </p:blipFill>
        <p:spPr>
          <a:xfrm>
            <a:off x="509281" y="1041293"/>
            <a:ext cx="4209325" cy="5655687"/>
          </a:xfr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Intervention (1)    à J+17</a:t>
            </a:r>
          </a:p>
        </p:txBody>
      </p:sp>
      <p:pic>
        <p:nvPicPr>
          <p:cNvPr id="3" name="graues bild 2">
            <a:hlinkClick r:id="" action="ppaction://media"/>
            <a:extLst>
              <a:ext uri="{FF2B5EF4-FFF2-40B4-BE49-F238E27FC236}">
                <a16:creationId xmlns:a16="http://schemas.microsoft.com/office/drawing/2014/main" id="{A0E44F17-8DC7-8432-0326-BC24D3019ADA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7"/>
          <a:srcRect l="33418" t="19578" r="33259"/>
          <a:stretch/>
        </p:blipFill>
        <p:spPr>
          <a:xfrm>
            <a:off x="5693793" y="982611"/>
            <a:ext cx="4209325" cy="571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26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93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273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3600" y="1213307"/>
            <a:ext cx="11582400" cy="5170778"/>
          </a:xfrm>
        </p:spPr>
        <p:txBody>
          <a:bodyPr/>
          <a:lstStyle/>
          <a:p>
            <a:r>
              <a:rPr lang="fr-FR" sz="2400" dirty="0"/>
              <a:t>Impossibilité de perforer le </a:t>
            </a:r>
            <a:r>
              <a:rPr lang="fr-FR" sz="2400" dirty="0" err="1"/>
              <a:t>flap</a:t>
            </a:r>
            <a:r>
              <a:rPr lang="fr-FR" sz="2400" dirty="0"/>
              <a:t> avec un cathéter courbé, et des guides </a:t>
            </a:r>
            <a:r>
              <a:rPr lang="fr-FR" sz="2400" dirty="0" err="1"/>
              <a:t>Terumo</a:t>
            </a:r>
            <a:r>
              <a:rPr lang="fr-FR" sz="2400" dirty="0"/>
              <a:t>™ 0,035 retourné et Asahi </a:t>
            </a:r>
            <a:r>
              <a:rPr lang="fr-FR" sz="2400" err="1"/>
              <a:t>Astato</a:t>
            </a:r>
            <a:r>
              <a:rPr lang="fr-FR" sz="2400"/>
              <a:t> 20™ </a:t>
            </a:r>
            <a:r>
              <a:rPr lang="fr-FR" sz="2400" dirty="0"/>
              <a:t>0,018</a:t>
            </a:r>
          </a:p>
          <a:p>
            <a:endParaRPr lang="fr-FR" sz="2400" dirty="0"/>
          </a:p>
          <a:p>
            <a:r>
              <a:rPr lang="fr-FR" sz="2400" dirty="0"/>
              <a:t>Introducteur 6 F puis 6 F de 90 cm courbé sous-clavier gauche</a:t>
            </a:r>
          </a:p>
          <a:p>
            <a:endParaRPr lang="fr-FR" sz="2400" dirty="0"/>
          </a:p>
          <a:p>
            <a:r>
              <a:rPr lang="fr-FR" sz="2400" dirty="0"/>
              <a:t>Passage aisé par en haut dans les 2 lumières </a:t>
            </a:r>
          </a:p>
          <a:p>
            <a:endParaRPr lang="fr-FR" sz="2400" dirty="0"/>
          </a:p>
          <a:p>
            <a:r>
              <a:rPr lang="fr-FR" sz="2400" dirty="0"/>
              <a:t>Guide descendu dans la fausse lumière, passé dans un orifice de sortie et </a:t>
            </a:r>
            <a:r>
              <a:rPr lang="fr-FR" sz="2400" dirty="0" err="1"/>
              <a:t>snaré</a:t>
            </a:r>
            <a:r>
              <a:rPr lang="fr-FR" sz="2400" dirty="0"/>
              <a:t> dans l’introducteur fémoral gauche de 8 F</a:t>
            </a:r>
          </a:p>
          <a:p>
            <a:endParaRPr lang="fr-FR" sz="2400" dirty="0"/>
          </a:p>
          <a:p>
            <a:r>
              <a:rPr lang="fr-FR" sz="2400" dirty="0"/>
              <a:t>Fenestration avec un introducteur 6 F de 45 cm monté sur les 2 guides</a:t>
            </a:r>
          </a:p>
          <a:p>
            <a:endParaRPr lang="fr-FR" sz="2400" dirty="0"/>
          </a:p>
          <a:p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Intervention (2)</a:t>
            </a:r>
          </a:p>
        </p:txBody>
      </p:sp>
    </p:spTree>
    <p:extLst>
      <p:ext uri="{BB962C8B-B14F-4D97-AF65-F5344CB8AC3E}">
        <p14:creationId xmlns:p14="http://schemas.microsoft.com/office/powerpoint/2010/main" val="13166101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464400"/>
            <a:ext cx="11581200" cy="385200"/>
          </a:xfrm>
        </p:spPr>
        <p:txBody>
          <a:bodyPr/>
          <a:lstStyle/>
          <a:p>
            <a:r>
              <a:rPr lang="fr-FR" sz="2800" dirty="0"/>
              <a:t>Intervention (3)</a:t>
            </a:r>
          </a:p>
        </p:txBody>
      </p:sp>
      <p:pic>
        <p:nvPicPr>
          <p:cNvPr id="3" name="gb4 - Trim">
            <a:hlinkClick r:id="" action="ppaction://media"/>
            <a:extLst>
              <a:ext uri="{FF2B5EF4-FFF2-40B4-BE49-F238E27FC236}">
                <a16:creationId xmlns:a16="http://schemas.microsoft.com/office/drawing/2014/main" id="{0AD175DD-0471-DE8E-36AE-2AFA9969024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33608" t="20111" r="33734"/>
          <a:stretch/>
        </p:blipFill>
        <p:spPr>
          <a:xfrm>
            <a:off x="5762192" y="464400"/>
            <a:ext cx="4485184" cy="6171549"/>
          </a:xfrm>
          <a:prstGeom prst="rect">
            <a:avLst/>
          </a:prstGeom>
        </p:spPr>
      </p:pic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BCA45155-6041-AF92-0CD2-B8D79C332269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3600" y="2247900"/>
            <a:ext cx="11582400" cy="4610100"/>
          </a:xfrm>
        </p:spPr>
        <p:txBody>
          <a:bodyPr/>
          <a:lstStyle/>
          <a:p>
            <a:r>
              <a:rPr lang="fr-FR" sz="2400" dirty="0"/>
              <a:t>Mauvaise opacification du rein </a:t>
            </a:r>
          </a:p>
          <a:p>
            <a:pPr marL="0" indent="0">
              <a:buNone/>
            </a:pPr>
            <a:r>
              <a:rPr lang="fr-FR" sz="2400" dirty="0"/>
              <a:t>  droit après la fenestration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Décision de </a:t>
            </a:r>
            <a:r>
              <a:rPr lang="fr-FR" sz="2400" dirty="0" err="1"/>
              <a:t>cathéteriser</a:t>
            </a:r>
            <a:r>
              <a:rPr lang="fr-FR" sz="2400" dirty="0"/>
              <a:t> l’artère </a:t>
            </a:r>
          </a:p>
          <a:p>
            <a:pPr marL="0" indent="0">
              <a:buNone/>
            </a:pPr>
            <a:r>
              <a:rPr lang="fr-FR" sz="2400" dirty="0"/>
              <a:t>  rénale droite en passant par la </a:t>
            </a:r>
          </a:p>
          <a:p>
            <a:pPr marL="0" indent="0">
              <a:buNone/>
            </a:pPr>
            <a:r>
              <a:rPr lang="fr-FR" sz="2400" dirty="0"/>
              <a:t>  vraie lumière</a:t>
            </a:r>
          </a:p>
        </p:txBody>
      </p:sp>
    </p:spTree>
    <p:extLst>
      <p:ext uri="{BB962C8B-B14F-4D97-AF65-F5344CB8AC3E}">
        <p14:creationId xmlns:p14="http://schemas.microsoft.com/office/powerpoint/2010/main" val="532539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59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Espace réservé du contenu 2">
            <a:extLst>
              <a:ext uri="{FF2B5EF4-FFF2-40B4-BE49-F238E27FC236}">
                <a16:creationId xmlns:a16="http://schemas.microsoft.com/office/drawing/2014/main" id="{A691DE3E-67A0-55AE-9702-A5E81CBCB39C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 rotWithShape="1">
          <a:blip r:embed="rId2"/>
          <a:srcRect l="758" t="17877" r="6455" b="5043"/>
          <a:stretch/>
        </p:blipFill>
        <p:spPr>
          <a:xfrm>
            <a:off x="2293116" y="2460269"/>
            <a:ext cx="7604567" cy="3553428"/>
          </a:xfr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473914"/>
            <a:ext cx="11581200" cy="2257711"/>
          </a:xfrm>
        </p:spPr>
        <p:txBody>
          <a:bodyPr/>
          <a:lstStyle/>
          <a:p>
            <a:r>
              <a:rPr lang="fr-FR" sz="2800" dirty="0"/>
              <a:t>Intervention (4)</a:t>
            </a:r>
            <a:br>
              <a:rPr lang="fr-FR" sz="2800" dirty="0"/>
            </a:br>
            <a:br>
              <a:rPr lang="fr-FR" sz="2800" dirty="0"/>
            </a:br>
            <a:r>
              <a:rPr lang="fr-FR" sz="2400" b="0" dirty="0"/>
              <a:t>Mise en place d’un stent monté sur ballon </a:t>
            </a:r>
            <a:r>
              <a:rPr lang="fr-FR" sz="2400" b="0" dirty="0" err="1"/>
              <a:t>Biotronik</a:t>
            </a:r>
            <a:r>
              <a:rPr lang="fr-FR" sz="2400" b="0" dirty="0"/>
              <a:t> </a:t>
            </a:r>
            <a:r>
              <a:rPr lang="fr-FR" sz="2400" b="0" dirty="0" err="1"/>
              <a:t>Dynetic</a:t>
            </a:r>
            <a:r>
              <a:rPr lang="fr-FR" sz="2400" b="0" dirty="0"/>
              <a:t>™ de 7-18</a:t>
            </a:r>
            <a:br>
              <a:rPr lang="fr-FR" sz="2400" b="0" dirty="0"/>
            </a:br>
            <a:r>
              <a:rPr lang="fr-FR" sz="2400" b="0" dirty="0"/>
              <a:t> </a:t>
            </a:r>
            <a:br>
              <a:rPr lang="fr-FR" sz="2400" b="0" dirty="0"/>
            </a:br>
            <a:r>
              <a:rPr lang="fr-FR" sz="2400" b="0" dirty="0" err="1"/>
              <a:t>Proglide</a:t>
            </a: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13162187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799" y="1611939"/>
            <a:ext cx="11767595" cy="4610100"/>
          </a:xfrm>
        </p:spPr>
        <p:txBody>
          <a:bodyPr/>
          <a:lstStyle/>
          <a:p>
            <a:r>
              <a:rPr lang="fr-FR" sz="2400" dirty="0"/>
              <a:t>Disparition des douleurs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Normalisation biologique: créatinine 1,25 mg/dl à M+4</a:t>
            </a:r>
          </a:p>
          <a:p>
            <a:pPr marL="0" indent="0">
              <a:buNone/>
            </a:pPr>
            <a:r>
              <a:rPr lang="fr-FR" sz="2400" dirty="0"/>
              <a:t>                       		     GFR 63 ml/min/1,73m2 à M+4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Sortie au 3</a:t>
            </a:r>
            <a:r>
              <a:rPr lang="fr-FR" sz="2400" baseline="30000" dirty="0"/>
              <a:t>ème</a:t>
            </a:r>
            <a:r>
              <a:rPr lang="fr-FR" sz="2400" dirty="0"/>
              <a:t> jour post-opératoire avec Amlor, </a:t>
            </a:r>
            <a:r>
              <a:rPr lang="fr-FR" sz="2400" dirty="0" err="1"/>
              <a:t>Belsar</a:t>
            </a:r>
            <a:r>
              <a:rPr lang="fr-FR" sz="2400" dirty="0"/>
              <a:t>, </a:t>
            </a:r>
            <a:r>
              <a:rPr lang="fr-FR" sz="2400" dirty="0" err="1"/>
              <a:t>Fludex</a:t>
            </a:r>
            <a:r>
              <a:rPr lang="fr-FR" sz="2400" dirty="0"/>
              <a:t>, </a:t>
            </a:r>
            <a:r>
              <a:rPr lang="fr-FR" sz="2400" dirty="0" err="1"/>
              <a:t>Moxonidine</a:t>
            </a:r>
            <a:r>
              <a:rPr lang="fr-FR" sz="2400" dirty="0"/>
              <a:t>, </a:t>
            </a:r>
            <a:r>
              <a:rPr lang="fr-FR" sz="2400" dirty="0" err="1"/>
              <a:t>Nobiten</a:t>
            </a:r>
            <a:r>
              <a:rPr lang="fr-FR" sz="2400" dirty="0"/>
              <a:t>, Spironolactone, </a:t>
            </a:r>
            <a:r>
              <a:rPr lang="fr-FR" sz="2400" dirty="0" err="1"/>
              <a:t>Terazosine</a:t>
            </a:r>
            <a:endParaRPr lang="fr-FR" sz="2400" dirty="0"/>
          </a:p>
          <a:p>
            <a:pPr marL="3657600" lvl="8" indent="0">
              <a:buNone/>
            </a:pPr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Evolution post-opératoire</a:t>
            </a:r>
          </a:p>
        </p:txBody>
      </p:sp>
    </p:spTree>
    <p:extLst>
      <p:ext uri="{BB962C8B-B14F-4D97-AF65-F5344CB8AC3E}">
        <p14:creationId xmlns:p14="http://schemas.microsoft.com/office/powerpoint/2010/main" val="32028534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 err="1"/>
              <a:t>Angioscan</a:t>
            </a:r>
            <a:r>
              <a:rPr lang="fr-FR" sz="2800" dirty="0"/>
              <a:t> à M+4</a:t>
            </a:r>
          </a:p>
        </p:txBody>
      </p:sp>
      <p:pic>
        <p:nvPicPr>
          <p:cNvPr id="5" name="123456789 - Trim">
            <a:hlinkClick r:id="" action="ppaction://media"/>
            <a:extLst>
              <a:ext uri="{FF2B5EF4-FFF2-40B4-BE49-F238E27FC236}">
                <a16:creationId xmlns:a16="http://schemas.microsoft.com/office/drawing/2014/main" id="{BCAE1331-6FD4-36A4-74D5-661283ECECFF}"/>
              </a:ext>
            </a:extLst>
          </p:cNvPr>
          <p:cNvPicPr>
            <a:picLocks noGrp="1" noChangeAspect="1"/>
          </p:cNvPicPr>
          <p:nvPr>
            <p:ph sz="quarter" idx="25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6023" t="20640" r="14497" b="10817"/>
          <a:stretch/>
        </p:blipFill>
        <p:spPr>
          <a:xfrm>
            <a:off x="1824341" y="1295617"/>
            <a:ext cx="8542117" cy="4739833"/>
          </a:xfrm>
        </p:spPr>
      </p:pic>
    </p:spTree>
    <p:extLst>
      <p:ext uri="{BB962C8B-B14F-4D97-AF65-F5344CB8AC3E}">
        <p14:creationId xmlns:p14="http://schemas.microsoft.com/office/powerpoint/2010/main" val="2296342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383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Espace réservé du contenu 2">
            <a:extLst>
              <a:ext uri="{FF2B5EF4-FFF2-40B4-BE49-F238E27FC236}">
                <a16:creationId xmlns:a16="http://schemas.microsoft.com/office/drawing/2014/main" id="{46E5D38F-86A3-E673-467D-157E98772DC3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 rotWithShape="1">
          <a:blip r:embed="rId2"/>
          <a:srcRect l="38607" t="18381" r="12810" b="31656"/>
          <a:stretch/>
        </p:blipFill>
        <p:spPr>
          <a:xfrm>
            <a:off x="856526" y="1117605"/>
            <a:ext cx="9757457" cy="5266480"/>
          </a:xfr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Discussion</a:t>
            </a:r>
          </a:p>
        </p:txBody>
      </p:sp>
    </p:spTree>
    <p:extLst>
      <p:ext uri="{BB962C8B-B14F-4D97-AF65-F5344CB8AC3E}">
        <p14:creationId xmlns:p14="http://schemas.microsoft.com/office/powerpoint/2010/main" val="26991590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798" y="1088020"/>
            <a:ext cx="11767595" cy="5981128"/>
          </a:xfrm>
        </p:spPr>
        <p:txBody>
          <a:bodyPr/>
          <a:lstStyle/>
          <a:p>
            <a:pPr marL="0" indent="0">
              <a:buNone/>
            </a:pPr>
            <a:r>
              <a:rPr lang="fr-FR" sz="2400" dirty="0"/>
              <a:t>	</a:t>
            </a:r>
            <a:r>
              <a:rPr lang="en-US" sz="2400" dirty="0"/>
              <a:t> 	</a:t>
            </a:r>
            <a:r>
              <a:rPr lang="en-US" sz="2400" b="1" i="1" dirty="0" err="1"/>
              <a:t>IN</a:t>
            </a:r>
            <a:r>
              <a:rPr lang="en-US" sz="2400" dirty="0" err="1"/>
              <a:t>vestigation</a:t>
            </a:r>
            <a:r>
              <a:rPr lang="en-US" sz="2400" dirty="0"/>
              <a:t> of </a:t>
            </a:r>
            <a:r>
              <a:rPr lang="en-US" sz="2400" b="1" i="1" dirty="0" err="1"/>
              <a:t>STE</a:t>
            </a:r>
            <a:r>
              <a:rPr lang="en-US" sz="2400" dirty="0" err="1"/>
              <a:t>nt</a:t>
            </a:r>
            <a:r>
              <a:rPr lang="en-US" sz="2400" dirty="0"/>
              <a:t> grafts in </a:t>
            </a:r>
            <a:r>
              <a:rPr lang="en-US" sz="2400" b="1" i="1" dirty="0"/>
              <a:t>A</a:t>
            </a:r>
            <a:r>
              <a:rPr lang="en-US" sz="2400" dirty="0"/>
              <a:t>ortic </a:t>
            </a:r>
            <a:r>
              <a:rPr lang="en-US" sz="2400" b="1" i="1" dirty="0"/>
              <a:t>D</a:t>
            </a:r>
            <a:r>
              <a:rPr lang="en-US" sz="2400" dirty="0"/>
              <a:t>issection</a:t>
            </a:r>
            <a:r>
              <a:rPr lang="fr-FR" sz="2400" dirty="0"/>
              <a:t>						</a:t>
            </a:r>
          </a:p>
          <a:p>
            <a:pPr marL="0" indent="0">
              <a:buNone/>
            </a:pPr>
            <a:endParaRPr lang="fr-FR" sz="2400" dirty="0"/>
          </a:p>
          <a:p>
            <a:pPr marL="0" indent="0">
              <a:buNone/>
            </a:pPr>
            <a:r>
              <a:rPr lang="fr-FR" sz="2400" dirty="0"/>
              <a:t>								</a:t>
            </a:r>
            <a:r>
              <a:rPr lang="fr-FR" sz="2400" i="1" dirty="0"/>
              <a:t>Patients à risque:</a:t>
            </a:r>
          </a:p>
          <a:p>
            <a:pPr marL="0" indent="0">
              <a:buNone/>
            </a:pPr>
            <a:endParaRPr lang="fr-FR" sz="2400" i="1" dirty="0"/>
          </a:p>
          <a:p>
            <a:pPr marL="0" indent="0">
              <a:buNone/>
            </a:pPr>
            <a:r>
              <a:rPr lang="fr-FR" sz="2400" dirty="0"/>
              <a:t>								→ fausse lumière 										    partiellement 										    thrombosée</a:t>
            </a:r>
          </a:p>
          <a:p>
            <a:pPr marL="0" indent="0">
              <a:buNone/>
            </a:pPr>
            <a:r>
              <a:rPr lang="fr-FR" sz="2400" dirty="0"/>
              <a:t>								→ large fausse lumière</a:t>
            </a:r>
          </a:p>
          <a:p>
            <a:pPr marL="0" indent="0">
              <a:buNone/>
            </a:pPr>
            <a:r>
              <a:rPr lang="fr-FR" sz="2400" dirty="0"/>
              <a:t>								→ large porte d’entrée</a:t>
            </a:r>
          </a:p>
          <a:p>
            <a:pPr marL="3657600" lvl="8" indent="0">
              <a:buNone/>
            </a:pPr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Discuss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50B754-2C15-6A70-2BDC-55665F1D56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443" t="30380" r="28892" b="18819"/>
          <a:stretch/>
        </p:blipFill>
        <p:spPr>
          <a:xfrm>
            <a:off x="304798" y="1668912"/>
            <a:ext cx="6875362" cy="4329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619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800" y="1251898"/>
            <a:ext cx="11582400" cy="5141701"/>
          </a:xfrm>
        </p:spPr>
        <p:txBody>
          <a:bodyPr/>
          <a:lstStyle/>
          <a:p>
            <a:r>
              <a:rPr lang="fr-FR" sz="2400" dirty="0"/>
              <a:t>Homme de 59 ans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Douleur interscapulaire brutale vers 18h30, avec malaise d’allure syncopale mais sans perte de connaissance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Douleur continue et assez sévère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Irradiation vers l’abdomen, en ceinture</a:t>
            </a:r>
          </a:p>
          <a:p>
            <a:endParaRPr lang="fr-FR" sz="2400" dirty="0"/>
          </a:p>
          <a:p>
            <a:r>
              <a:rPr lang="fr-FR" sz="2400" dirty="0"/>
              <a:t>Urgences CHBA de Seraing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473914"/>
            <a:ext cx="11581200" cy="777985"/>
          </a:xfrm>
        </p:spPr>
        <p:txBody>
          <a:bodyPr/>
          <a:lstStyle/>
          <a:p>
            <a:r>
              <a:rPr lang="fr-FR" sz="2800" dirty="0"/>
              <a:t>Histo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4FA9343-6256-A607-11A7-9824A9287B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68154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5B1561D-7048-481E-8F0E-6B67E6A68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pPr marL="0" indent="0">
              <a:buNone/>
            </a:pPr>
            <a:endParaRPr lang="fr-FR" sz="2400" dirty="0"/>
          </a:p>
          <a:p>
            <a:pPr marL="3657600" lvl="8" indent="0">
              <a:buNone/>
            </a:pPr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Discussion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7111318-9AE9-040F-9CCC-F09A672B4B2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126" t="44726" r="22721" b="20556"/>
          <a:stretch/>
        </p:blipFill>
        <p:spPr>
          <a:xfrm>
            <a:off x="671332" y="1409700"/>
            <a:ext cx="9757458" cy="4491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246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799" y="1611939"/>
            <a:ext cx="11767595" cy="4610100"/>
          </a:xfrm>
        </p:spPr>
        <p:txBody>
          <a:bodyPr/>
          <a:lstStyle/>
          <a:p>
            <a:pPr marL="0" indent="0">
              <a:buNone/>
            </a:pPr>
            <a:endParaRPr lang="fr-FR" sz="2400" dirty="0"/>
          </a:p>
          <a:p>
            <a:pPr marL="3657600" lvl="8" indent="0">
              <a:buNone/>
            </a:pPr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Discuss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447871C-2707-0D24-10E9-1F0152117D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253" t="13839" r="41329" b="64051"/>
          <a:stretch/>
        </p:blipFill>
        <p:spPr>
          <a:xfrm>
            <a:off x="643724" y="1187052"/>
            <a:ext cx="10903352" cy="5034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908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746608B-49D0-6B5D-52C2-160D6A0C0A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800" y="1301283"/>
            <a:ext cx="11582400" cy="4610100"/>
          </a:xfrm>
        </p:spPr>
        <p:txBody>
          <a:bodyPr/>
          <a:lstStyle/>
          <a:p>
            <a:pPr marL="0" indent="0">
              <a:buNone/>
            </a:pPr>
            <a:r>
              <a:rPr lang="fr-FR" sz="2400" dirty="0"/>
              <a:t>(</a:t>
            </a:r>
            <a:r>
              <a:rPr lang="fr-FR" sz="2400" dirty="0" err="1"/>
              <a:t>extended</a:t>
            </a:r>
            <a:r>
              <a:rPr lang="fr-FR" sz="2400" dirty="0"/>
              <a:t>) </a:t>
            </a:r>
            <a:r>
              <a:rPr lang="fr-FR" sz="2400" b="1" i="1" dirty="0" err="1"/>
              <a:t>P</a:t>
            </a:r>
            <a:r>
              <a:rPr lang="fr-FR" sz="2400" dirty="0" err="1"/>
              <a:t>rovisional</a:t>
            </a:r>
            <a:r>
              <a:rPr lang="fr-FR" sz="2400" dirty="0"/>
              <a:t> </a:t>
            </a:r>
            <a:r>
              <a:rPr lang="fr-FR" sz="2400" b="1" i="1" dirty="0" err="1"/>
              <a:t>E</a:t>
            </a:r>
            <a:r>
              <a:rPr lang="fr-FR" sz="2400" dirty="0" err="1"/>
              <a:t>x</a:t>
            </a:r>
            <a:r>
              <a:rPr lang="fr-FR" sz="2400" b="1" i="1" dirty="0" err="1"/>
              <a:t>T</a:t>
            </a:r>
            <a:r>
              <a:rPr lang="fr-FR" sz="2400" dirty="0" err="1"/>
              <a:t>ension</a:t>
            </a:r>
            <a:r>
              <a:rPr lang="fr-FR" sz="2400" dirty="0"/>
              <a:t> </a:t>
            </a:r>
            <a:r>
              <a:rPr lang="fr-FR" sz="2400" b="1" i="1" dirty="0"/>
              <a:t>T</a:t>
            </a:r>
            <a:r>
              <a:rPr lang="fr-FR" sz="2400" dirty="0"/>
              <a:t>o </a:t>
            </a:r>
            <a:r>
              <a:rPr lang="fr-FR" sz="2400" b="1" i="1" dirty="0" err="1"/>
              <a:t>I</a:t>
            </a:r>
            <a:r>
              <a:rPr lang="fr-FR" sz="2400" dirty="0" err="1"/>
              <a:t>nduce</a:t>
            </a:r>
            <a:r>
              <a:rPr lang="fr-FR" sz="2400" dirty="0"/>
              <a:t> </a:t>
            </a:r>
            <a:r>
              <a:rPr lang="fr-FR" sz="2400" b="1" i="1" dirty="0" err="1"/>
              <a:t>CO</a:t>
            </a:r>
            <a:r>
              <a:rPr lang="fr-FR" sz="2400" dirty="0" err="1"/>
              <a:t>mplete</a:t>
            </a:r>
            <a:r>
              <a:rPr lang="fr-FR" sz="2400" dirty="0"/>
              <a:t> </a:t>
            </a:r>
            <a:r>
              <a:rPr lang="fr-FR" sz="2400" b="1" i="1" dirty="0" err="1"/>
              <a:t>AT</a:t>
            </a:r>
            <a:r>
              <a:rPr lang="fr-FR" sz="2400" dirty="0" err="1"/>
              <a:t>tachement</a:t>
            </a:r>
            <a:endParaRPr lang="fr-FR" sz="2400" dirty="0"/>
          </a:p>
          <a:p>
            <a:pPr marL="3657600" lvl="8" indent="0">
              <a:buNone/>
            </a:pPr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Discussion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9B7D018-D45E-23DC-9F01-03CE6B533E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133" t="34767" r="37816" b="19326"/>
          <a:stretch/>
        </p:blipFill>
        <p:spPr>
          <a:xfrm>
            <a:off x="2613944" y="2049717"/>
            <a:ext cx="6261904" cy="461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2888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799" y="1611939"/>
            <a:ext cx="11767595" cy="4610100"/>
          </a:xfrm>
        </p:spPr>
        <p:txBody>
          <a:bodyPr/>
          <a:lstStyle/>
          <a:p>
            <a:pPr marL="0" indent="0">
              <a:buNone/>
            </a:pPr>
            <a:endParaRPr lang="fr-FR" sz="2400" dirty="0"/>
          </a:p>
          <a:p>
            <a:pPr marL="3657600" lvl="8" indent="0">
              <a:buNone/>
            </a:pPr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Discuss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6ECE212-A0AB-61AE-494A-584B899D6B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04" t="9270" r="39241" b="34936"/>
          <a:stretch/>
        </p:blipFill>
        <p:spPr>
          <a:xfrm>
            <a:off x="304799" y="1180618"/>
            <a:ext cx="9857772" cy="5203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4603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800" y="1006998"/>
            <a:ext cx="11767595" cy="5180317"/>
          </a:xfrm>
        </p:spPr>
        <p:txBody>
          <a:bodyPr/>
          <a:lstStyle/>
          <a:p>
            <a:pPr marL="0" indent="0" algn="ctr">
              <a:buNone/>
            </a:pPr>
            <a:r>
              <a:rPr lang="en-US" sz="2400" b="1" i="1" dirty="0" err="1"/>
              <a:t>ST</a:t>
            </a:r>
            <a:r>
              <a:rPr lang="en-US" sz="2400" dirty="0" err="1"/>
              <a:t>ent</a:t>
            </a:r>
            <a:r>
              <a:rPr lang="en-US" sz="2400" dirty="0"/>
              <a:t>-</a:t>
            </a:r>
            <a:r>
              <a:rPr lang="en-US" sz="2400" b="1" i="1" dirty="0"/>
              <a:t>A</a:t>
            </a:r>
            <a:r>
              <a:rPr lang="en-US" sz="2400" dirty="0"/>
              <a:t>ssisted </a:t>
            </a:r>
            <a:r>
              <a:rPr lang="en-US" sz="2400" b="1" i="1" dirty="0"/>
              <a:t>B</a:t>
            </a:r>
            <a:r>
              <a:rPr lang="en-US" sz="2400" dirty="0"/>
              <a:t>alloon-induced </a:t>
            </a:r>
            <a:r>
              <a:rPr lang="en-US" sz="2400" b="1" i="1" dirty="0"/>
              <a:t>I</a:t>
            </a:r>
            <a:r>
              <a:rPr lang="en-US" sz="2400" dirty="0"/>
              <a:t>ntimal disruption and </a:t>
            </a:r>
            <a:r>
              <a:rPr lang="en-US" sz="2400" dirty="0" err="1"/>
              <a:t>re</a:t>
            </a:r>
            <a:r>
              <a:rPr lang="en-US" sz="2400" b="1" i="1" dirty="0" err="1"/>
              <a:t>L</a:t>
            </a:r>
            <a:r>
              <a:rPr lang="en-US" sz="2400" dirty="0" err="1"/>
              <a:t>amination</a:t>
            </a:r>
            <a:r>
              <a:rPr lang="en-US" sz="2400" dirty="0"/>
              <a:t> </a:t>
            </a:r>
            <a:r>
              <a:rPr lang="en-US" sz="2400" b="1" i="1" dirty="0"/>
              <a:t>I</a:t>
            </a:r>
            <a:r>
              <a:rPr lang="en-US" sz="2400" dirty="0"/>
              <a:t>n aortic </a:t>
            </a:r>
            <a:r>
              <a:rPr lang="en-US" sz="2400" dirty="0" err="1"/>
              <a:t>dis</a:t>
            </a:r>
            <a:r>
              <a:rPr lang="en-US" sz="2400" b="1" i="1" dirty="0" err="1"/>
              <a:t>SE</a:t>
            </a:r>
            <a:r>
              <a:rPr lang="en-US" sz="2400" dirty="0" err="1"/>
              <a:t>ction</a:t>
            </a:r>
            <a:r>
              <a:rPr lang="en-US" sz="2400" dirty="0"/>
              <a:t> repair</a:t>
            </a:r>
            <a:endParaRPr lang="fr-FR" sz="2400" dirty="0"/>
          </a:p>
          <a:p>
            <a:pPr marL="3657600" lvl="8" indent="0">
              <a:buNone/>
            </a:pPr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Discuss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DE1D87F-EE45-34F5-7563-C6F88D5242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209" t="29536" r="28607" b="12743"/>
          <a:stretch/>
        </p:blipFill>
        <p:spPr>
          <a:xfrm>
            <a:off x="3171463" y="2095018"/>
            <a:ext cx="6342927" cy="461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4676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799" y="1611939"/>
            <a:ext cx="11767595" cy="4610100"/>
          </a:xfrm>
        </p:spPr>
        <p:txBody>
          <a:bodyPr/>
          <a:lstStyle/>
          <a:p>
            <a:pPr marL="0" indent="0">
              <a:buNone/>
            </a:pPr>
            <a:endParaRPr lang="fr-FR" sz="2400" dirty="0"/>
          </a:p>
          <a:p>
            <a:pPr marL="3657600" lvl="8" indent="0">
              <a:buNone/>
            </a:pPr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Discuss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C4A1264-D20B-3362-1F60-8D217F1FE25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133" t="10970" r="35537" b="33840"/>
          <a:stretch/>
        </p:blipFill>
        <p:spPr>
          <a:xfrm>
            <a:off x="816014" y="1365490"/>
            <a:ext cx="4517985" cy="4306106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A7FB8DB-A21A-4E39-CCDC-9585B6CBDF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107" t="21547" r="28703" b="17131"/>
          <a:stretch/>
        </p:blipFill>
        <p:spPr>
          <a:xfrm>
            <a:off x="5845214" y="1477301"/>
            <a:ext cx="6227180" cy="4833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5479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r>
              <a:rPr lang="fr-FR" sz="2400" dirty="0"/>
              <a:t>La dissection aortique aiguë est un phénomène dynamique, dont le moteur est l’onde de pression artérielle systolique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Les dissections aortiques de type B compliquées doivent être traitées</a:t>
            </a:r>
          </a:p>
          <a:p>
            <a:endParaRPr lang="fr-FR" sz="2400" dirty="0"/>
          </a:p>
          <a:p>
            <a:r>
              <a:rPr lang="fr-FR" sz="2400" dirty="0"/>
              <a:t>Il semble y avoir </a:t>
            </a:r>
            <a:r>
              <a:rPr lang="fr-FR" sz="2400"/>
              <a:t>un intérêt </a:t>
            </a:r>
            <a:r>
              <a:rPr lang="fr-FR" sz="2400" dirty="0"/>
              <a:t>de traiter les dissections aortiques de type B non compliquées</a:t>
            </a:r>
          </a:p>
          <a:p>
            <a:endParaRPr lang="fr-FR" sz="2400" dirty="0"/>
          </a:p>
          <a:p>
            <a:r>
              <a:rPr lang="fr-FR" sz="2400" dirty="0"/>
              <a:t>« Primum non </a:t>
            </a:r>
            <a:r>
              <a:rPr lang="fr-FR" sz="2400" dirty="0" err="1"/>
              <a:t>nocere</a:t>
            </a:r>
            <a:r>
              <a:rPr lang="fr-FR" sz="2400" dirty="0"/>
              <a:t> »</a:t>
            </a:r>
          </a:p>
          <a:p>
            <a:pPr marL="0" indent="0">
              <a:buNone/>
            </a:pPr>
            <a:endParaRPr lang="fr-FR" sz="2400" dirty="0"/>
          </a:p>
          <a:p>
            <a:endParaRPr lang="fr-FR" sz="2400" dirty="0"/>
          </a:p>
          <a:p>
            <a:endParaRPr lang="fr-FR" sz="2400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1404526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3600" y="1251898"/>
            <a:ext cx="11582400" cy="5391969"/>
          </a:xfrm>
        </p:spPr>
        <p:txBody>
          <a:bodyPr/>
          <a:lstStyle/>
          <a:p>
            <a:r>
              <a:rPr lang="fr-FR" sz="2400" dirty="0"/>
              <a:t>Excès pondéral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Hypothyroïdie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Emphysème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Cure de varices bilatérale</a:t>
            </a:r>
          </a:p>
          <a:p>
            <a:pPr marL="0" indent="0">
              <a:buNone/>
            </a:pPr>
            <a:endParaRPr lang="fr-FR" sz="2400" dirty="0"/>
          </a:p>
          <a:p>
            <a:r>
              <a:rPr lang="fr-FR" sz="2400" dirty="0"/>
              <a:t>Facteurs de risque cardiovasculaire:</a:t>
            </a:r>
          </a:p>
          <a:p>
            <a:pPr marL="1325880" lvl="6" indent="0">
              <a:buNone/>
            </a:pPr>
            <a:r>
              <a:rPr lang="fr-FR" sz="2050" dirty="0"/>
              <a:t>- </a:t>
            </a:r>
            <a:r>
              <a:rPr lang="fr-FR" sz="2400" dirty="0"/>
              <a:t>tabagisme 15 cigarillos/jour</a:t>
            </a:r>
          </a:p>
          <a:p>
            <a:pPr marL="1325880" lvl="6" indent="0">
              <a:buNone/>
            </a:pPr>
            <a:r>
              <a:rPr lang="fr-FR" sz="2400" dirty="0"/>
              <a:t>- hypertension artérielle méconnue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473914"/>
            <a:ext cx="11581200" cy="777985"/>
          </a:xfrm>
        </p:spPr>
        <p:txBody>
          <a:bodyPr/>
          <a:lstStyle/>
          <a:p>
            <a:r>
              <a:rPr lang="fr-FR" sz="2800" dirty="0"/>
              <a:t>Antécédent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4FA9343-6256-A607-11A7-9824A9287B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3339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869E8BD-75E5-B7E2-A041-0596F93526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EC25BDF4-9852-753B-8DDF-B18D7CC95E7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fr-FR" sz="2400" b="1" i="1" dirty="0"/>
              <a:t>Biologie</a:t>
            </a:r>
          </a:p>
          <a:p>
            <a:pPr marL="0" indent="0">
              <a:buNone/>
            </a:pPr>
            <a:r>
              <a:rPr lang="fr-FR" sz="2400" dirty="0"/>
              <a:t>	</a:t>
            </a:r>
            <a:r>
              <a:rPr lang="fr-FR" sz="2400" dirty="0" err="1"/>
              <a:t>Hb</a:t>
            </a:r>
            <a:r>
              <a:rPr lang="fr-FR" sz="2400" dirty="0"/>
              <a:t>  16,2 g/dl</a:t>
            </a:r>
          </a:p>
          <a:p>
            <a:pPr marL="0" indent="0">
              <a:buNone/>
            </a:pPr>
            <a:r>
              <a:rPr lang="fr-FR" sz="2400" dirty="0"/>
              <a:t>	GB  12,04 10</a:t>
            </a:r>
            <a:r>
              <a:rPr lang="fr-FR" sz="2400" baseline="30000" dirty="0"/>
              <a:t>3</a:t>
            </a:r>
            <a:r>
              <a:rPr lang="fr-FR" sz="2400" dirty="0"/>
              <a:t>/mm</a:t>
            </a:r>
            <a:r>
              <a:rPr lang="fr-FR" sz="2400" baseline="30000" dirty="0"/>
              <a:t>3</a:t>
            </a:r>
          </a:p>
          <a:p>
            <a:pPr marL="0" indent="0">
              <a:buNone/>
            </a:pPr>
            <a:r>
              <a:rPr lang="fr-FR" sz="2400" dirty="0"/>
              <a:t>	créatinine  1,02 mg/dl</a:t>
            </a:r>
          </a:p>
          <a:p>
            <a:pPr marL="0" indent="0">
              <a:buNone/>
            </a:pPr>
            <a:r>
              <a:rPr lang="fr-FR" sz="2400" dirty="0"/>
              <a:t>	GFR  &gt;60 ml/min/1,73m</a:t>
            </a:r>
            <a:r>
              <a:rPr lang="fr-FR" sz="2400" baseline="30000" dirty="0"/>
              <a:t>2</a:t>
            </a:r>
          </a:p>
          <a:p>
            <a:pPr marL="0" indent="0">
              <a:buNone/>
            </a:pPr>
            <a:r>
              <a:rPr lang="fr-FR" sz="2400" dirty="0"/>
              <a:t>	CK  151 UI/l</a:t>
            </a:r>
          </a:p>
          <a:p>
            <a:pPr marL="0" indent="0">
              <a:buNone/>
            </a:pPr>
            <a:r>
              <a:rPr lang="fr-FR" sz="2400" dirty="0"/>
              <a:t>	CK-MB  2,7 </a:t>
            </a:r>
            <a:r>
              <a:rPr lang="el-GR" sz="2400" dirty="0"/>
              <a:t>μ</a:t>
            </a:r>
            <a:r>
              <a:rPr lang="fr-FR" sz="2400" dirty="0"/>
              <a:t>g/l</a:t>
            </a:r>
          </a:p>
          <a:p>
            <a:pPr marL="0" indent="0">
              <a:buNone/>
            </a:pPr>
            <a:r>
              <a:rPr lang="fr-FR" sz="2400" dirty="0"/>
              <a:t>	Troponine 1  &lt;5,10 </a:t>
            </a:r>
            <a:r>
              <a:rPr lang="fr-FR" sz="2400" dirty="0" err="1"/>
              <a:t>ng</a:t>
            </a:r>
            <a:r>
              <a:rPr lang="fr-FR" sz="2400" dirty="0"/>
              <a:t>/l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53FD0FD-6979-DE64-C0AB-8A1A06D0B550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r>
              <a:rPr lang="fr-FR" sz="2400" b="1" i="1" dirty="0"/>
              <a:t>ECG</a:t>
            </a:r>
            <a:r>
              <a:rPr lang="fr-FR" sz="2400" dirty="0"/>
              <a:t> </a:t>
            </a:r>
          </a:p>
          <a:p>
            <a:pPr marL="0" indent="0">
              <a:buNone/>
            </a:pPr>
            <a:r>
              <a:rPr lang="fr-FR" sz="2400" dirty="0"/>
              <a:t>	normal</a:t>
            </a:r>
          </a:p>
          <a:p>
            <a:endParaRPr lang="fr-FR" sz="2400" dirty="0"/>
          </a:p>
          <a:p>
            <a:endParaRPr lang="fr-FR" sz="2400" dirty="0"/>
          </a:p>
          <a:p>
            <a:pPr marL="0" indent="0">
              <a:buNone/>
            </a:pPr>
            <a:endParaRPr lang="fr-FR" sz="2400" dirty="0"/>
          </a:p>
          <a:p>
            <a:r>
              <a:rPr lang="fr-FR" sz="2400" b="1" i="1" dirty="0" err="1"/>
              <a:t>Angioscan</a:t>
            </a:r>
            <a:r>
              <a:rPr lang="fr-FR" sz="2400" b="1" i="1" dirty="0"/>
              <a:t> thoraco-abdominal</a:t>
            </a:r>
          </a:p>
          <a:p>
            <a:pPr marL="0" indent="0">
              <a:buNone/>
            </a:pPr>
            <a:r>
              <a:rPr lang="fr-FR" sz="2400" dirty="0"/>
              <a:t>	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Examens complémentaires</a:t>
            </a:r>
          </a:p>
        </p:txBody>
      </p:sp>
    </p:spTree>
    <p:extLst>
      <p:ext uri="{BB962C8B-B14F-4D97-AF65-F5344CB8AC3E}">
        <p14:creationId xmlns:p14="http://schemas.microsoft.com/office/powerpoint/2010/main" val="3371259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18195119-0AD2-1096-4C11-1DDDCEA443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017" y="416689"/>
            <a:ext cx="9273256" cy="548385"/>
          </a:xfrm>
        </p:spPr>
        <p:txBody>
          <a:bodyPr/>
          <a:lstStyle/>
          <a:p>
            <a:r>
              <a:rPr lang="fr-FR" sz="2800" b="1" dirty="0" err="1">
                <a:solidFill>
                  <a:schemeClr val="tx1"/>
                </a:solidFill>
              </a:rPr>
              <a:t>Angioscan</a:t>
            </a:r>
            <a:r>
              <a:rPr lang="fr-FR" sz="2800" b="1" dirty="0">
                <a:solidFill>
                  <a:schemeClr val="tx1"/>
                </a:solidFill>
              </a:rPr>
              <a:t> à J0</a:t>
            </a:r>
          </a:p>
        </p:txBody>
      </p:sp>
      <p:pic>
        <p:nvPicPr>
          <p:cNvPr id="12" name="bandicam 2023-10-04 22-04-30-237 - Trim">
            <a:hlinkClick r:id="" action="ppaction://media"/>
            <a:extLst>
              <a:ext uri="{FF2B5EF4-FFF2-40B4-BE49-F238E27FC236}">
                <a16:creationId xmlns:a16="http://schemas.microsoft.com/office/drawing/2014/main" id="{B3148C37-1012-95B9-3562-C8606CBBDCF3}"/>
              </a:ext>
            </a:extLst>
          </p:cNvPr>
          <p:cNvPicPr>
            <a:picLocks noGrp="1" noChangeAspect="1"/>
          </p:cNvPicPr>
          <p:nvPr>
            <p:ph sz="quarter" idx="4294967295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1248" t="28925" r="22123" b="11570"/>
          <a:stretch/>
        </p:blipFill>
        <p:spPr>
          <a:xfrm>
            <a:off x="1463033" y="1453592"/>
            <a:ext cx="7920477" cy="4681537"/>
          </a:xfrm>
        </p:spPr>
      </p:pic>
    </p:spTree>
    <p:extLst>
      <p:ext uri="{BB962C8B-B14F-4D97-AF65-F5344CB8AC3E}">
        <p14:creationId xmlns:p14="http://schemas.microsoft.com/office/powerpoint/2010/main" val="1537252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6975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04800" y="1251899"/>
            <a:ext cx="11582400" cy="4610100"/>
          </a:xfrm>
        </p:spPr>
        <p:txBody>
          <a:bodyPr/>
          <a:lstStyle/>
          <a:p>
            <a:r>
              <a:rPr lang="fr-FR" sz="2400" dirty="0"/>
              <a:t>Dissection aortique aiguë de type B selon Stanford peu compliquée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473914"/>
            <a:ext cx="11581200" cy="777985"/>
          </a:xfrm>
        </p:spPr>
        <p:txBody>
          <a:bodyPr/>
          <a:lstStyle/>
          <a:p>
            <a:r>
              <a:rPr lang="fr-FR" sz="2800" dirty="0"/>
              <a:t>Diagnostic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4FA9343-6256-A607-11A7-9824A9287B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765D2F05-CD0E-E6C0-CE02-BE4B9A2B1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9661" y="2153986"/>
            <a:ext cx="6204029" cy="423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2800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CA76CB8C-EF92-FBCA-AAFD-E6A933130C91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r>
              <a:rPr lang="fr-FR" sz="2400" dirty="0"/>
              <a:t>Diminution de la douleur</a:t>
            </a:r>
          </a:p>
          <a:p>
            <a:endParaRPr lang="fr-FR" sz="2400" dirty="0"/>
          </a:p>
          <a:p>
            <a:r>
              <a:rPr lang="fr-FR" sz="2400" dirty="0"/>
              <a:t>Contrôle de la pression artérielle</a:t>
            </a:r>
          </a:p>
          <a:p>
            <a:pPr marL="0" indent="0">
              <a:buNone/>
            </a:pPr>
            <a:r>
              <a:rPr lang="fr-FR" sz="2400" dirty="0"/>
              <a:t>		</a:t>
            </a:r>
            <a:r>
              <a:rPr lang="fr-FR" sz="2400" dirty="0">
                <a:latin typeface="Century Gothic" panose="020B0502020202020204" pitchFamily="34" charset="0"/>
              </a:rPr>
              <a:t>→ </a:t>
            </a:r>
            <a:r>
              <a:rPr lang="fr-FR" sz="2400" dirty="0" err="1">
                <a:latin typeface="Century Gothic" panose="020B0502020202020204" pitchFamily="34" charset="0"/>
              </a:rPr>
              <a:t>Rydene</a:t>
            </a:r>
            <a:r>
              <a:rPr lang="fr-FR" sz="2400" dirty="0">
                <a:latin typeface="Century Gothic" panose="020B0502020202020204" pitchFamily="34" charset="0"/>
              </a:rPr>
              <a:t>, </a:t>
            </a:r>
            <a:r>
              <a:rPr lang="fr-FR" sz="2400" dirty="0" err="1">
                <a:latin typeface="Century Gothic" panose="020B0502020202020204" pitchFamily="34" charset="0"/>
              </a:rPr>
              <a:t>Brevibloc</a:t>
            </a:r>
            <a:r>
              <a:rPr lang="fr-FR" sz="2400" dirty="0">
                <a:latin typeface="Century Gothic" panose="020B0502020202020204" pitchFamily="34" charset="0"/>
              </a:rPr>
              <a:t>, </a:t>
            </a:r>
            <a:r>
              <a:rPr lang="fr-FR" sz="2400" dirty="0" err="1">
                <a:latin typeface="Century Gothic" panose="020B0502020202020204" pitchFamily="34" charset="0"/>
              </a:rPr>
              <a:t>Cedocard</a:t>
            </a:r>
            <a:endParaRPr lang="fr-FR" sz="24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fr-FR" sz="2400" dirty="0">
                <a:latin typeface="Century Gothic" panose="020B0502020202020204" pitchFamily="34" charset="0"/>
              </a:rPr>
              <a:t>		→ </a:t>
            </a:r>
            <a:r>
              <a:rPr lang="fr-FR" sz="2400" dirty="0" err="1">
                <a:latin typeface="Century Gothic" panose="020B0502020202020204" pitchFamily="34" charset="0"/>
              </a:rPr>
              <a:t>Moxonidine</a:t>
            </a:r>
            <a:r>
              <a:rPr lang="fr-FR" sz="2400" dirty="0">
                <a:latin typeface="Century Gothic" panose="020B0502020202020204" pitchFamily="34" charset="0"/>
              </a:rPr>
              <a:t>, </a:t>
            </a:r>
            <a:r>
              <a:rPr lang="fr-FR" sz="2400" dirty="0" err="1">
                <a:latin typeface="Century Gothic" panose="020B0502020202020204" pitchFamily="34" charset="0"/>
              </a:rPr>
              <a:t>Lercanidipine</a:t>
            </a:r>
            <a:r>
              <a:rPr lang="fr-FR" sz="2400" dirty="0">
                <a:latin typeface="Century Gothic" panose="020B0502020202020204" pitchFamily="34" charset="0"/>
              </a:rPr>
              <a:t>, </a:t>
            </a:r>
            <a:r>
              <a:rPr lang="fr-FR" sz="2400" dirty="0" err="1">
                <a:latin typeface="Century Gothic" panose="020B0502020202020204" pitchFamily="34" charset="0"/>
              </a:rPr>
              <a:t>Minitran</a:t>
            </a:r>
            <a:r>
              <a:rPr lang="fr-FR" sz="2400" dirty="0">
                <a:latin typeface="Century Gothic" panose="020B0502020202020204" pitchFamily="34" charset="0"/>
              </a:rPr>
              <a:t>, </a:t>
            </a:r>
            <a:r>
              <a:rPr lang="fr-FR" sz="2400" dirty="0" err="1">
                <a:latin typeface="Century Gothic" panose="020B0502020202020204" pitchFamily="34" charset="0"/>
              </a:rPr>
              <a:t>Terazocine</a:t>
            </a:r>
            <a:r>
              <a:rPr lang="fr-FR" sz="2400" dirty="0">
                <a:latin typeface="Century Gothic" panose="020B0502020202020204" pitchFamily="34" charset="0"/>
              </a:rPr>
              <a:t>, </a:t>
            </a:r>
            <a:r>
              <a:rPr lang="fr-FR" sz="2400" dirty="0" err="1">
                <a:latin typeface="Century Gothic" panose="020B0502020202020204" pitchFamily="34" charset="0"/>
              </a:rPr>
              <a:t>Fludex</a:t>
            </a:r>
            <a:endParaRPr lang="fr-FR" sz="24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fr-FR" sz="2400" dirty="0">
                <a:latin typeface="Century Gothic" panose="020B0502020202020204" pitchFamily="34" charset="0"/>
              </a:rPr>
              <a:t> </a:t>
            </a:r>
            <a:endParaRPr lang="fr-FR" sz="2400" dirty="0"/>
          </a:p>
          <a:p>
            <a:r>
              <a:rPr lang="fr-FR" sz="2400" dirty="0"/>
              <a:t>Pas de modification biologique et </a:t>
            </a:r>
            <a:r>
              <a:rPr lang="fr-FR" sz="2400" dirty="0" err="1"/>
              <a:t>scannographique</a:t>
            </a:r>
            <a:endParaRPr lang="fr-FR" sz="2400" dirty="0"/>
          </a:p>
          <a:p>
            <a:endParaRPr lang="fr-FR" sz="2400" dirty="0"/>
          </a:p>
          <a:p>
            <a:r>
              <a:rPr lang="fr-FR" sz="2400" dirty="0"/>
              <a:t>Transfert des soins intensifs en chambre banalisée à J+4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/>
              <a:t>Evolution immédiate</a:t>
            </a:r>
          </a:p>
        </p:txBody>
      </p:sp>
    </p:spTree>
    <p:extLst>
      <p:ext uri="{BB962C8B-B14F-4D97-AF65-F5344CB8AC3E}">
        <p14:creationId xmlns:p14="http://schemas.microsoft.com/office/powerpoint/2010/main" val="3642712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Espace réservé du contenu 2">
            <a:extLst>
              <a:ext uri="{FF2B5EF4-FFF2-40B4-BE49-F238E27FC236}">
                <a16:creationId xmlns:a16="http://schemas.microsoft.com/office/drawing/2014/main" id="{E2D1828D-0682-C5B4-CE6F-BDCB53BE1FD1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 rotWithShape="1">
          <a:blip r:embed="rId3"/>
          <a:srcRect l="2878" t="15008" r="48398" b="67488"/>
          <a:stretch/>
        </p:blipFill>
        <p:spPr>
          <a:xfrm>
            <a:off x="567160" y="3906456"/>
            <a:ext cx="9697924" cy="2951544"/>
          </a:xfr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464400"/>
            <a:ext cx="11581200" cy="2813296"/>
          </a:xfrm>
        </p:spPr>
        <p:txBody>
          <a:bodyPr/>
          <a:lstStyle/>
          <a:p>
            <a:r>
              <a:rPr lang="fr-FR" sz="2800" dirty="0"/>
              <a:t>Evolution biologique subaiguë</a:t>
            </a:r>
            <a:br>
              <a:rPr lang="fr-FR" sz="2800" dirty="0"/>
            </a:br>
            <a:br>
              <a:rPr lang="fr-FR" sz="2800" dirty="0"/>
            </a:br>
            <a:r>
              <a:rPr lang="fr-FR" sz="2400" b="0" dirty="0"/>
              <a:t>D-dimères 	J+6: 2860 </a:t>
            </a:r>
            <a:r>
              <a:rPr lang="el-GR" sz="2400" b="0" dirty="0"/>
              <a:t>μ</a:t>
            </a:r>
            <a:r>
              <a:rPr lang="fr-FR" sz="2400" b="0" dirty="0"/>
              <a:t>g/l</a:t>
            </a:r>
            <a:br>
              <a:rPr lang="fr-FR" sz="2400" b="0" dirty="0"/>
            </a:br>
            <a:r>
              <a:rPr lang="fr-FR" sz="2400" b="0" dirty="0"/>
              <a:t>		J+10: 1107 </a:t>
            </a:r>
            <a:r>
              <a:rPr lang="el-GR" sz="2400" b="0" dirty="0"/>
              <a:t>μ</a:t>
            </a:r>
            <a:r>
              <a:rPr lang="fr-FR" sz="2400" b="0" dirty="0"/>
              <a:t>g/l</a:t>
            </a:r>
            <a:br>
              <a:rPr lang="fr-FR" sz="2400" b="0" dirty="0"/>
            </a:br>
            <a:r>
              <a:rPr lang="fr-FR" sz="2400" b="0" dirty="0"/>
              <a:t>		J+13: 901 </a:t>
            </a:r>
            <a:r>
              <a:rPr lang="el-GR" sz="2400" b="0" dirty="0"/>
              <a:t>μ</a:t>
            </a:r>
            <a:r>
              <a:rPr lang="fr-FR" sz="2400" b="0" dirty="0"/>
              <a:t>g/l</a:t>
            </a:r>
            <a:br>
              <a:rPr lang="fr-FR" sz="2800" dirty="0"/>
            </a:br>
            <a:br>
              <a:rPr lang="fr-FR" sz="2800" dirty="0"/>
            </a:br>
            <a:r>
              <a:rPr lang="fr-FR" sz="2400" b="0" dirty="0"/>
              <a:t>Augmentation du taux de créatinine et chute de la GFR</a:t>
            </a:r>
            <a:br>
              <a:rPr lang="fr-FR" sz="2400" b="0" dirty="0"/>
            </a:br>
            <a:r>
              <a:rPr lang="fr-FR" sz="2400" b="0" dirty="0"/>
              <a:t>				J+10: 1,34 mg/dl et 54 ml/min/1,73m</a:t>
            </a:r>
            <a:r>
              <a:rPr lang="fr-FR" sz="2400" b="0" baseline="30000" dirty="0"/>
              <a:t>2</a:t>
            </a:r>
            <a:br>
              <a:rPr lang="fr-FR" sz="2400" b="0" dirty="0"/>
            </a:br>
            <a:r>
              <a:rPr lang="fr-FR" sz="2400" b="0" dirty="0"/>
              <a:t>				J+13: 2,09 md/dl et 33 ml/min/1,73m</a:t>
            </a:r>
            <a:r>
              <a:rPr lang="fr-FR" sz="2400" b="0" baseline="30000" dirty="0"/>
              <a:t>2</a:t>
            </a:r>
            <a:br>
              <a:rPr lang="fr-FR" sz="2400" b="0" dirty="0"/>
            </a:br>
            <a:r>
              <a:rPr lang="fr-FR" sz="2400" b="0" dirty="0"/>
              <a:t>				J+14: 2,26 mg/dl et 30 ml/min/1,73m</a:t>
            </a:r>
            <a:r>
              <a:rPr lang="fr-FR" sz="2400" b="0" baseline="30000" dirty="0"/>
              <a:t>2</a:t>
            </a:r>
            <a:br>
              <a:rPr lang="fr-FR" sz="2400" b="0" dirty="0"/>
            </a:br>
            <a:r>
              <a:rPr lang="fr-FR" sz="2400" b="0" dirty="0"/>
              <a:t>				J+16: 2,70 mg/dl et 24 ml/min/1,73m</a:t>
            </a:r>
            <a:r>
              <a:rPr lang="fr-FR" sz="2400" b="0" baseline="30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693566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B8A596F-CD51-4D2A-8706-57E3A278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" name="9876543210 - Trim">
            <a:hlinkClick r:id="" action="ppaction://media"/>
            <a:extLst>
              <a:ext uri="{FF2B5EF4-FFF2-40B4-BE49-F238E27FC236}">
                <a16:creationId xmlns:a16="http://schemas.microsoft.com/office/drawing/2014/main" id="{16059BF8-CF74-C2E5-E633-35D22E557797}"/>
              </a:ext>
            </a:extLst>
          </p:cNvPr>
          <p:cNvPicPr>
            <a:picLocks noGrp="1" noChangeAspect="1"/>
          </p:cNvPicPr>
          <p:nvPr>
            <p:ph sz="quarter" idx="25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8707" t="22146" r="17746" b="12072"/>
          <a:stretch/>
        </p:blipFill>
        <p:spPr>
          <a:xfrm>
            <a:off x="1145893" y="1292148"/>
            <a:ext cx="8762036" cy="5101452"/>
          </a:xfr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9780A6AC-FDA8-0A75-C98E-B003BCEBD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 err="1"/>
              <a:t>Angioscan</a:t>
            </a:r>
            <a:r>
              <a:rPr lang="fr-FR" sz="2800" dirty="0"/>
              <a:t> à J+13</a:t>
            </a:r>
          </a:p>
        </p:txBody>
      </p:sp>
    </p:spTree>
    <p:extLst>
      <p:ext uri="{BB962C8B-B14F-4D97-AF65-F5344CB8AC3E}">
        <p14:creationId xmlns:p14="http://schemas.microsoft.com/office/powerpoint/2010/main" val="125299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493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OTRONIK_Impulse_Master-16-9_2019">
  <a:themeElements>
    <a:clrScheme name="BIOTRONIK">
      <a:dk1>
        <a:srgbClr val="00234C"/>
      </a:dk1>
      <a:lt1>
        <a:sysClr val="window" lastClr="FFFFFF"/>
      </a:lt1>
      <a:dk2>
        <a:srgbClr val="00234C"/>
      </a:dk2>
      <a:lt2>
        <a:srgbClr val="CDD7DE"/>
      </a:lt2>
      <a:accent1>
        <a:srgbClr val="00234C"/>
      </a:accent1>
      <a:accent2>
        <a:srgbClr val="587992"/>
      </a:accent2>
      <a:accent3>
        <a:srgbClr val="9BAFBE"/>
      </a:accent3>
      <a:accent4>
        <a:srgbClr val="8E9295"/>
      </a:accent4>
      <a:accent5>
        <a:srgbClr val="3B5C7B"/>
      </a:accent5>
      <a:accent6>
        <a:srgbClr val="6E6E6E"/>
      </a:accent6>
      <a:hlink>
        <a:srgbClr val="004C75"/>
      </a:hlink>
      <a:folHlink>
        <a:srgbClr val="49074B"/>
      </a:folHlink>
    </a:clrScheme>
    <a:fontScheme name="BIOTRONI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72000" rIns="72000" bIns="72000" rtlCol="0" anchor="ctr">
        <a:spAutoFit/>
      </a:bodyPr>
      <a:lstStyle>
        <a:defPPr algn="l">
          <a:spcAft>
            <a:spcPts val="400"/>
          </a:spcAft>
          <a:defRPr sz="1400" dirty="0" smtClean="0"/>
        </a:defPPr>
      </a:lstStyle>
    </a:txDef>
  </a:objectDefaults>
  <a:extraClrSchemeLst/>
  <a:custClrLst>
    <a:custClr name="Dark Blue">
      <a:srgbClr val="00234C"/>
    </a:custClr>
    <a:custClr name="Blue Semi 2">
      <a:srgbClr val="1D4063"/>
    </a:custClr>
    <a:custClr name="Blue Semi 1">
      <a:srgbClr val="3B5C7B"/>
    </a:custClr>
    <a:custClr name="Blue-Grey">
      <a:srgbClr val="587992"/>
    </a:custClr>
    <a:custClr name="Grey">
      <a:srgbClr val="8E9295"/>
    </a:custClr>
    <a:custClr name="Dark Grey">
      <a:srgbClr val="6E6E6E"/>
    </a:custClr>
    <a:custClr name="Lime Dark">
      <a:srgbClr val="4F590D"/>
    </a:custClr>
    <a:custClr name="Lime Semi 2">
      <a:srgbClr val="81881B"/>
    </a:custClr>
    <a:custClr name="Lime Semi 1">
      <a:srgbClr val="B2B629"/>
    </a:custClr>
    <a:custClr name="Lime">
      <a:srgbClr val="E5E737"/>
    </a:custClr>
    <a:custClr name="Green Dark">
      <a:srgbClr val="135234"/>
    </a:custClr>
    <a:custClr name="Green Semi 2">
      <a:srgbClr val="0D7047"/>
    </a:custClr>
    <a:custClr name="Green Semi 1">
      <a:srgbClr val="068E59"/>
    </a:custClr>
    <a:custClr name="Green">
      <a:srgbClr val="00AC6C"/>
    </a:custClr>
    <a:custClr name="Aqua Dark">
      <a:srgbClr val="0F5C63"/>
    </a:custClr>
    <a:custClr name="Aqua Semi 2">
      <a:srgbClr val="0A787B"/>
    </a:custClr>
    <a:custClr name="Aqua Semi 1">
      <a:srgbClr val="059393"/>
    </a:custClr>
    <a:custClr name="Aqua">
      <a:srgbClr val="00AFAC"/>
    </a:custClr>
    <a:custClr name="Sky Dark">
      <a:srgbClr val="004C75"/>
    </a:custClr>
    <a:custClr name="Sky Semi 2">
      <a:srgbClr val="0B5E90"/>
    </a:custClr>
    <a:custClr name="Sky Semi 1">
      <a:srgbClr val="1670AD"/>
    </a:custClr>
    <a:custClr name="Sky">
      <a:srgbClr val="2183CA"/>
    </a:custClr>
    <a:custClr name="Berry Dark">
      <a:srgbClr val="49074B"/>
    </a:custClr>
    <a:custClr name="Berry Semi 2">
      <a:srgbClr val="5D095F"/>
    </a:custClr>
    <a:custClr name="Berry Semi 1">
      <a:srgbClr val="720A73"/>
    </a:custClr>
    <a:custClr name="Berry">
      <a:srgbClr val="860C87"/>
    </a:custClr>
    <a:custClr name="Pink Dark">
      <a:srgbClr val="5F0433"/>
    </a:custClr>
    <a:custClr name="Pink Semi 2">
      <a:srgbClr val="7F0643"/>
    </a:custClr>
    <a:custClr name="Pink Semi 1">
      <a:srgbClr val="A00854"/>
    </a:custClr>
    <a:custClr name="Pink">
      <a:srgbClr val="BF0A64"/>
    </a:custClr>
    <a:custClr name="Tangerine Dark">
      <a:srgbClr val="5A170D"/>
    </a:custClr>
    <a:custClr name="Tangerine Semi 2">
      <a:srgbClr val="8C2914"/>
    </a:custClr>
    <a:custClr name="Tangerine Semi 1">
      <a:srgbClr val="BE3C1C"/>
    </a:custClr>
    <a:custClr name="Tangerine">
      <a:srgbClr val="F04E23"/>
    </a:custClr>
  </a:custClrLst>
  <a:extLst>
    <a:ext uri="{05A4C25C-085E-4340-85A3-A5531E510DB2}">
      <thm15:themeFamily xmlns:thm15="http://schemas.microsoft.com/office/thememl/2012/main" name="BIOTRONIK_Master-16-9_V3.potx" id="{CDF7B327-A253-4137-8E2F-EA66B4F3CE43}" vid="{47FED6A6-B8BF-4EBF-966F-AC3D7FE6FB38}"/>
    </a:ext>
  </a:extLst>
</a:theme>
</file>

<file path=ppt/theme/theme2.xml><?xml version="1.0" encoding="utf-8"?>
<a:theme xmlns:a="http://schemas.openxmlformats.org/drawingml/2006/main" name="BIOTRONIK_VI_16-9">
  <a:themeElements>
    <a:clrScheme name="BIOTRONIK">
      <a:dk1>
        <a:srgbClr val="00234C"/>
      </a:dk1>
      <a:lt1>
        <a:sysClr val="window" lastClr="FFFFFF"/>
      </a:lt1>
      <a:dk2>
        <a:srgbClr val="00234C"/>
      </a:dk2>
      <a:lt2>
        <a:srgbClr val="CDD7DE"/>
      </a:lt2>
      <a:accent1>
        <a:srgbClr val="00234C"/>
      </a:accent1>
      <a:accent2>
        <a:srgbClr val="587992"/>
      </a:accent2>
      <a:accent3>
        <a:srgbClr val="9BAFBE"/>
      </a:accent3>
      <a:accent4>
        <a:srgbClr val="8E9295"/>
      </a:accent4>
      <a:accent5>
        <a:srgbClr val="3B5C7B"/>
      </a:accent5>
      <a:accent6>
        <a:srgbClr val="6E6E6E"/>
      </a:accent6>
      <a:hlink>
        <a:srgbClr val="004C75"/>
      </a:hlink>
      <a:folHlink>
        <a:srgbClr val="49074B"/>
      </a:folHlink>
    </a:clrScheme>
    <a:fontScheme name="BIOTRONI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  <a:headEnd w="sm" len="sm"/>
          <a:tailEnd type="triangle" w="sm" len="sm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72000" rIns="72000" bIns="72000" rtlCol="0" anchor="ctr">
        <a:spAutoFit/>
      </a:bodyPr>
      <a:lstStyle>
        <a:defPPr algn="l">
          <a:spcAft>
            <a:spcPts val="400"/>
          </a:spcAft>
          <a:defRPr sz="1400" dirty="0" smtClean="0"/>
        </a:defPPr>
      </a:lstStyle>
    </a:txDef>
  </a:objectDefaults>
  <a:extraClrSchemeLst/>
  <a:custClrLst>
    <a:custClr name="REACT">
      <a:srgbClr val="059393"/>
    </a:custClr>
    <a:custClr name="DarkBlue">
      <a:srgbClr val="00234C"/>
    </a:custClr>
    <a:custClr name="proBIO">
      <a:srgbClr val="58839F"/>
    </a:custClr>
    <a:custClr name="Bluegrey">
      <a:srgbClr val="587992"/>
    </a:custClr>
    <a:custClr name="Grey">
      <a:srgbClr val="8E9295"/>
    </a:custClr>
    <a:custClr name="Dark-grey">
      <a:srgbClr val="6E6E6E"/>
    </a:custClr>
    <a:custClr name="AngioSculpt">
      <a:srgbClr val="3B5C7B"/>
    </a:custClr>
    <a:custClr name="CruiserHydro">
      <a:srgbClr val="8E9295"/>
    </a:custClr>
    <a:custClr name="GaleoPro">
      <a:srgbClr val="8E9295"/>
    </a:custClr>
    <a:custClr name="Magnum">
      <a:srgbClr val="8E9295"/>
    </a:custClr>
    <a:custClr name="Orsiro">
      <a:srgbClr val="D51566"/>
    </a:custClr>
    <a:custClr name="PanteraPro">
      <a:srgbClr val="0F5C63"/>
    </a:custClr>
    <a:custClr name="PanteraLEO">
      <a:srgbClr val="F04E23"/>
    </a:custClr>
    <a:custClr name="PanteraLux">
      <a:srgbClr val="B2B629"/>
    </a:custClr>
    <a:custClr name="PKPapyrus">
      <a:srgbClr val="81881B"/>
    </a:custClr>
    <a:custClr name="PROKineticEnergy">
      <a:srgbClr val="720A73"/>
    </a:custClr>
    <a:custClr name="Magmaris">
      <a:srgbClr val="00AFAC"/>
    </a:custClr>
    <a:custClr name="AstronPulsar">
      <a:srgbClr val="8C2914"/>
    </a:custClr>
    <a:custClr name="Astron">
      <a:srgbClr val="A04932"/>
    </a:custClr>
    <a:custClr name="Pulsar18">
      <a:srgbClr val="5A170D"/>
    </a:custClr>
    <a:custClr name="Pulsar18T3">
      <a:srgbClr val="5A170D"/>
    </a:custClr>
    <a:custClr name="Pulsar35">
      <a:srgbClr val="587992"/>
    </a:custClr>
    <a:custClr name="Dynamic">
      <a:srgbClr val="068E59"/>
    </a:custClr>
    <a:custClr name="DynamicRenal">
      <a:srgbClr val="197B8E"/>
    </a:custClr>
    <a:custClr name="Passeo14">
      <a:srgbClr val="860C87"/>
    </a:custClr>
    <a:custClr name="Passeo18">
      <a:srgbClr val="A00854"/>
    </a:custClr>
    <a:custClr name="Passeo18Lux">
      <a:srgbClr val="C4C533"/>
    </a:custClr>
    <a:custClr name="Passeo35">
      <a:srgbClr val="7F0643"/>
    </a:custClr>
    <a:custClr name="Passeo35HP">
      <a:srgbClr val="1792A0"/>
    </a:custClr>
    <a:custClr name="PROKineticEnergyExplorer">
      <a:srgbClr val="2183CA"/>
    </a:custClr>
    <a:custClr name="Cruiser18">
      <a:srgbClr val="8E9295"/>
    </a:custClr>
    <a:custClr name="3Flow">
      <a:srgbClr val="5F0433"/>
    </a:custClr>
    <a:custClr name="Fortress">
      <a:srgbClr val="2183CA"/>
    </a:custClr>
    <a:custClr name="NeptunePad">
      <a:srgbClr val="860C87"/>
    </a:custClr>
    <a:custClr name="CarnelianSupport">
      <a:srgbClr val="90C1E4"/>
    </a:custClr>
  </a:custClrLst>
  <a:extLst>
    <a:ext uri="{05A4C25C-085E-4340-85A3-A5531E510DB2}">
      <thm15:themeFamily xmlns:thm15="http://schemas.microsoft.com/office/thememl/2012/main" name="BIOTRONIK_Master-16-9_V3.potx" id="{CDF7B327-A253-4137-8E2F-EA66B4F3CE43}" vid="{BD4E58BE-6BDB-4ECC-B60C-0CBAF4E08757}"/>
    </a:ext>
  </a:extLst>
</a:theme>
</file>

<file path=ppt/theme/theme3.xml><?xml version="1.0" encoding="utf-8"?>
<a:theme xmlns:a="http://schemas.openxmlformats.org/drawingml/2006/main" name="Office Theme">
  <a:themeElements>
    <a:clrScheme name="BIOTRONIK">
      <a:dk1>
        <a:srgbClr val="00234C"/>
      </a:dk1>
      <a:lt1>
        <a:sysClr val="window" lastClr="FFFFFF"/>
      </a:lt1>
      <a:dk2>
        <a:srgbClr val="00234C"/>
      </a:dk2>
      <a:lt2>
        <a:srgbClr val="CDD7DE"/>
      </a:lt2>
      <a:accent1>
        <a:srgbClr val="00234C"/>
      </a:accent1>
      <a:accent2>
        <a:srgbClr val="587992"/>
      </a:accent2>
      <a:accent3>
        <a:srgbClr val="9BAFBE"/>
      </a:accent3>
      <a:accent4>
        <a:srgbClr val="8E9295"/>
      </a:accent4>
      <a:accent5>
        <a:srgbClr val="3B5C7B"/>
      </a:accent5>
      <a:accent6>
        <a:srgbClr val="6E6E6E"/>
      </a:accent6>
      <a:hlink>
        <a:srgbClr val="004C75"/>
      </a:hlink>
      <a:folHlink>
        <a:srgbClr val="49074B"/>
      </a:folHlink>
    </a:clrScheme>
    <a:fontScheme name="BIOTRONI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IOTRONIK">
      <a:dk1>
        <a:srgbClr val="00234C"/>
      </a:dk1>
      <a:lt1>
        <a:sysClr val="window" lastClr="FFFFFF"/>
      </a:lt1>
      <a:dk2>
        <a:srgbClr val="00234C"/>
      </a:dk2>
      <a:lt2>
        <a:srgbClr val="CDD7DE"/>
      </a:lt2>
      <a:accent1>
        <a:srgbClr val="00234C"/>
      </a:accent1>
      <a:accent2>
        <a:srgbClr val="587992"/>
      </a:accent2>
      <a:accent3>
        <a:srgbClr val="9BAFBE"/>
      </a:accent3>
      <a:accent4>
        <a:srgbClr val="8E9295"/>
      </a:accent4>
      <a:accent5>
        <a:srgbClr val="3B5C7B"/>
      </a:accent5>
      <a:accent6>
        <a:srgbClr val="6E6E6E"/>
      </a:accent6>
      <a:hlink>
        <a:srgbClr val="004C75"/>
      </a:hlink>
      <a:folHlink>
        <a:srgbClr val="49074B"/>
      </a:folHlink>
    </a:clrScheme>
    <a:fontScheme name="BIOTRONI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IOTRONIK_Impulse_Master-16-9_2019 (1)</Template>
  <TotalTime>434</TotalTime>
  <Words>816</Words>
  <Application>Microsoft Office PowerPoint</Application>
  <PresentationFormat>Grand écran</PresentationFormat>
  <Paragraphs>140</Paragraphs>
  <Slides>26</Slides>
  <Notes>7</Notes>
  <HiddenSlides>0</HiddenSlides>
  <MMClips>6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32" baseType="lpstr">
      <vt:lpstr>Arial</vt:lpstr>
      <vt:lpstr>Century Gothic</vt:lpstr>
      <vt:lpstr>Verdana</vt:lpstr>
      <vt:lpstr>BIOTRONIK_Impulse_Master-16-9_2019</vt:lpstr>
      <vt:lpstr>BIOTRONIK_VI_16-9</vt:lpstr>
      <vt:lpstr>think-cell Folie</vt:lpstr>
      <vt:lpstr>Présentation PowerPoint</vt:lpstr>
      <vt:lpstr>Histoire</vt:lpstr>
      <vt:lpstr>Antécédents</vt:lpstr>
      <vt:lpstr>Examens complémentaires</vt:lpstr>
      <vt:lpstr>Présentation PowerPoint</vt:lpstr>
      <vt:lpstr>Diagnostic</vt:lpstr>
      <vt:lpstr>Evolution immédiate</vt:lpstr>
      <vt:lpstr>Evolution biologique subaiguë  D-dimères  J+6: 2860 μg/l   J+10: 1107 μg/l   J+13: 901 μg/l  Augmentation du taux de créatinine et chute de la GFR     J+10: 1,34 mg/dl et 54 ml/min/1,73m2     J+13: 2,09 md/dl et 33 ml/min/1,73m2     J+14: 2,26 mg/dl et 30 ml/min/1,73m2     J+16: 2,70 mg/dl et 24 ml/min/1,73m2</vt:lpstr>
      <vt:lpstr>Angioscan à J+13</vt:lpstr>
      <vt:lpstr>Stratégie opératoire (1)</vt:lpstr>
      <vt:lpstr>Stratégie opératoire (2)</vt:lpstr>
      <vt:lpstr>Intervention (1)    à J+17</vt:lpstr>
      <vt:lpstr>Intervention (2)</vt:lpstr>
      <vt:lpstr>Intervention (3)</vt:lpstr>
      <vt:lpstr>Intervention (4)  Mise en place d’un stent monté sur ballon Biotronik Dynetic™ de 7-18   Proglide</vt:lpstr>
      <vt:lpstr>Evolution post-opératoire</vt:lpstr>
      <vt:lpstr>Angioscan à M+4</vt:lpstr>
      <vt:lpstr>Discussion</vt:lpstr>
      <vt:lpstr>Discussion</vt:lpstr>
      <vt:lpstr>Discussion</vt:lpstr>
      <vt:lpstr>Discussion</vt:lpstr>
      <vt:lpstr>Discussion</vt:lpstr>
      <vt:lpstr>Discussion</vt:lpstr>
      <vt:lpstr>Discussion</vt:lpstr>
      <vt:lpstr>Discussion</vt:lpstr>
      <vt:lpstr>Conclusion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Chart with up to  3 Lines of Text, Verdana Bold 22 pt Sub-headlines Optional</dc:title>
  <dc:creator>Arnaud Kerzmann</dc:creator>
  <cp:lastModifiedBy>Arnaud Kerzmann</cp:lastModifiedBy>
  <cp:revision>1</cp:revision>
  <dcterms:created xsi:type="dcterms:W3CDTF">2023-10-04T19:32:32Z</dcterms:created>
  <dcterms:modified xsi:type="dcterms:W3CDTF">2023-10-06T14:02:41Z</dcterms:modified>
</cp:coreProperties>
</file>